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257" r:id="rId5"/>
    <p:sldId id="2147482988" r:id="rId6"/>
    <p:sldId id="2147482989" r:id="rId7"/>
    <p:sldId id="2147482990" r:id="rId8"/>
    <p:sldId id="2147482991" r:id="rId9"/>
    <p:sldId id="2147482992" r:id="rId10"/>
    <p:sldId id="2147482993" r:id="rId11"/>
    <p:sldId id="214748299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403243-BAAD-4E02-AC5B-13D3113AD1E7}" v="40" dt="2025-07-14T06:59:17.1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 pośredni 2 — Ak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wel STANISZEWSKI" userId="S::stanipawe1@ferrero.com::85a0c47f-b099-445b-9d4a-cf67b245ad3f" providerId="AD" clId="Web-{EBB973E5-A207-335F-1DDD-34C7C9D48861}"/>
    <pc:docChg chg="modSld">
      <pc:chgData name="Pawel STANISZEWSKI" userId="S::stanipawe1@ferrero.com::85a0c47f-b099-445b-9d4a-cf67b245ad3f" providerId="AD" clId="Web-{EBB973E5-A207-335F-1DDD-34C7C9D48861}" dt="2025-01-23T14:52:51.098" v="199" actId="1076"/>
      <pc:docMkLst>
        <pc:docMk/>
      </pc:docMkLst>
      <pc:sldChg chg="addSp delSp modSp">
        <pc:chgData name="Pawel STANISZEWSKI" userId="S::stanipawe1@ferrero.com::85a0c47f-b099-445b-9d4a-cf67b245ad3f" providerId="AD" clId="Web-{EBB973E5-A207-335F-1DDD-34C7C9D48861}" dt="2025-01-23T14:52:51.098" v="199" actId="1076"/>
        <pc:sldMkLst>
          <pc:docMk/>
          <pc:sldMk cId="3403585077" sldId="2147482988"/>
        </pc:sldMkLst>
        <pc:spChg chg="mod">
          <ac:chgData name="Pawel STANISZEWSKI" userId="S::stanipawe1@ferrero.com::85a0c47f-b099-445b-9d4a-cf67b245ad3f" providerId="AD" clId="Web-{EBB973E5-A207-335F-1DDD-34C7C9D48861}" dt="2025-01-23T14:47:49.341" v="132" actId="20577"/>
          <ac:spMkLst>
            <pc:docMk/>
            <pc:sldMk cId="3403585077" sldId="2147482988"/>
            <ac:spMk id="2" creationId="{00000000-0000-0000-0000-000000000000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0"/>
          <ac:spMkLst>
            <pc:docMk/>
            <pc:sldMk cId="3403585077" sldId="2147482988"/>
            <ac:spMk id="3" creationId="{FFAC1F85-91DF-2247-EE27-3DD3F501100A}"/>
          </ac:spMkLst>
        </pc:spChg>
        <pc:spChg chg="add del mod">
          <ac:chgData name="Pawel STANISZEWSKI" userId="S::stanipawe1@ferrero.com::85a0c47f-b099-445b-9d4a-cf67b245ad3f" providerId="AD" clId="Web-{EBB973E5-A207-335F-1DDD-34C7C9D48861}" dt="2025-01-23T14:50:08.172" v="151"/>
          <ac:spMkLst>
            <pc:docMk/>
            <pc:sldMk cId="3403585077" sldId="2147482988"/>
            <ac:spMk id="6" creationId="{1ED67EB6-3D80-55D4-BFFF-B2606E88D2E3}"/>
          </ac:spMkLst>
        </pc:spChg>
        <pc:spChg chg="mod">
          <ac:chgData name="Pawel STANISZEWSKI" userId="S::stanipawe1@ferrero.com::85a0c47f-b099-445b-9d4a-cf67b245ad3f" providerId="AD" clId="Web-{EBB973E5-A207-335F-1DDD-34C7C9D48861}" dt="2025-01-23T14:45:32.697" v="124" actId="20577"/>
          <ac:spMkLst>
            <pc:docMk/>
            <pc:sldMk cId="3403585077" sldId="2147482988"/>
            <ac:spMk id="7" creationId="{C9692E88-F7C8-840C-057A-861B863729E6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65"/>
          <ac:spMkLst>
            <pc:docMk/>
            <pc:sldMk cId="3403585077" sldId="2147482988"/>
            <ac:spMk id="8" creationId="{7F14727C-42AF-0D8C-54EC-60C1CA291A2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64"/>
          <ac:spMkLst>
            <pc:docMk/>
            <pc:sldMk cId="3403585077" sldId="2147482988"/>
            <ac:spMk id="9" creationId="{64C0B472-DB85-FCB0-B6A6-4F79F95C7F0E}"/>
          </ac:spMkLst>
        </pc:spChg>
        <pc:spChg chg="add mod">
          <ac:chgData name="Pawel STANISZEWSKI" userId="S::stanipawe1@ferrero.com::85a0c47f-b099-445b-9d4a-cf67b245ad3f" providerId="AD" clId="Web-{EBB973E5-A207-335F-1DDD-34C7C9D48861}" dt="2025-01-23T14:49:17.468" v="147" actId="20577"/>
          <ac:spMkLst>
            <pc:docMk/>
            <pc:sldMk cId="3403585077" sldId="2147482988"/>
            <ac:spMk id="10" creationId="{DBC99573-4CD1-0CC6-FEA9-8FB66AF3C02E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63"/>
          <ac:spMkLst>
            <pc:docMk/>
            <pc:sldMk cId="3403585077" sldId="2147482988"/>
            <ac:spMk id="10" creationId="{F3C66494-4EDF-3D2F-20D5-19DFCE76C874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62"/>
          <ac:spMkLst>
            <pc:docMk/>
            <pc:sldMk cId="3403585077" sldId="2147482988"/>
            <ac:spMk id="11" creationId="{2AE17EFA-05DE-3725-832A-C5EFBC48640B}"/>
          </ac:spMkLst>
        </pc:spChg>
        <pc:spChg chg="add mod">
          <ac:chgData name="Pawel STANISZEWSKI" userId="S::stanipawe1@ferrero.com::85a0c47f-b099-445b-9d4a-cf67b245ad3f" providerId="AD" clId="Web-{EBB973E5-A207-335F-1DDD-34C7C9D48861}" dt="2025-01-23T14:49:10.390" v="144" actId="1076"/>
          <ac:spMkLst>
            <pc:docMk/>
            <pc:sldMk cId="3403585077" sldId="2147482988"/>
            <ac:spMk id="11" creationId="{D9429B2C-BE7E-ACDC-C312-4C6A18348CCB}"/>
          </ac:spMkLst>
        </pc:spChg>
        <pc:spChg chg="add mod">
          <ac:chgData name="Pawel STANISZEWSKI" userId="S::stanipawe1@ferrero.com::85a0c47f-b099-445b-9d4a-cf67b245ad3f" providerId="AD" clId="Web-{EBB973E5-A207-335F-1DDD-34C7C9D48861}" dt="2025-01-23T14:50:49.533" v="164" actId="20577"/>
          <ac:spMkLst>
            <pc:docMk/>
            <pc:sldMk cId="3403585077" sldId="2147482988"/>
            <ac:spMk id="12" creationId="{6959F6F5-DCE4-2DE3-0D85-61D2EE7D712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61"/>
          <ac:spMkLst>
            <pc:docMk/>
            <pc:sldMk cId="3403585077" sldId="2147482988"/>
            <ac:spMk id="12" creationId="{D5B06CA5-B89D-04E9-B308-101D014BC732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60"/>
          <ac:spMkLst>
            <pc:docMk/>
            <pc:sldMk cId="3403585077" sldId="2147482988"/>
            <ac:spMk id="13" creationId="{563F1E5F-0233-0589-CDEF-798812434A53}"/>
          </ac:spMkLst>
        </pc:spChg>
        <pc:spChg chg="add mod">
          <ac:chgData name="Pawel STANISZEWSKI" userId="S::stanipawe1@ferrero.com::85a0c47f-b099-445b-9d4a-cf67b245ad3f" providerId="AD" clId="Web-{EBB973E5-A207-335F-1DDD-34C7C9D48861}" dt="2025-01-23T14:50:42.486" v="162" actId="20577"/>
          <ac:spMkLst>
            <pc:docMk/>
            <pc:sldMk cId="3403585077" sldId="2147482988"/>
            <ac:spMk id="13" creationId="{793BEF90-F8C3-7624-C314-673D95A09211}"/>
          </ac:spMkLst>
        </pc:spChg>
        <pc:spChg chg="add mod">
          <ac:chgData name="Pawel STANISZEWSKI" userId="S::stanipawe1@ferrero.com::85a0c47f-b099-445b-9d4a-cf67b245ad3f" providerId="AD" clId="Web-{EBB973E5-A207-335F-1DDD-34C7C9D48861}" dt="2025-01-23T14:52:22.410" v="197" actId="20577"/>
          <ac:spMkLst>
            <pc:docMk/>
            <pc:sldMk cId="3403585077" sldId="2147482988"/>
            <ac:spMk id="14" creationId="{0836C4D8-4C58-520F-8FB5-95A4222C1201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9"/>
          <ac:spMkLst>
            <pc:docMk/>
            <pc:sldMk cId="3403585077" sldId="2147482988"/>
            <ac:spMk id="14" creationId="{ECF6206C-0C6B-ED19-4210-D112709743C1}"/>
          </ac:spMkLst>
        </pc:spChg>
        <pc:spChg chg="add mod">
          <ac:chgData name="Pawel STANISZEWSKI" userId="S::stanipawe1@ferrero.com::85a0c47f-b099-445b-9d4a-cf67b245ad3f" providerId="AD" clId="Web-{EBB973E5-A207-335F-1DDD-34C7C9D48861}" dt="2025-01-23T14:52:16.879" v="187" actId="20577"/>
          <ac:spMkLst>
            <pc:docMk/>
            <pc:sldMk cId="3403585077" sldId="2147482988"/>
            <ac:spMk id="15" creationId="{53B73403-8435-D850-F5C9-EA012B76A051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8"/>
          <ac:spMkLst>
            <pc:docMk/>
            <pc:sldMk cId="3403585077" sldId="2147482988"/>
            <ac:spMk id="15" creationId="{9B84C367-A0A5-DFEB-520C-CDBA2448CBDC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7"/>
          <ac:spMkLst>
            <pc:docMk/>
            <pc:sldMk cId="3403585077" sldId="2147482988"/>
            <ac:spMk id="16" creationId="{B0514AC3-BA73-F9F0-8654-110081776B9C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6"/>
          <ac:spMkLst>
            <pc:docMk/>
            <pc:sldMk cId="3403585077" sldId="2147482988"/>
            <ac:spMk id="17" creationId="{40E0505A-53E3-3428-D140-2E9D0324338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5"/>
          <ac:spMkLst>
            <pc:docMk/>
            <pc:sldMk cId="3403585077" sldId="2147482988"/>
            <ac:spMk id="18" creationId="{CDA5ACA0-55F2-57EC-D8C4-0611F2F581F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4"/>
          <ac:spMkLst>
            <pc:docMk/>
            <pc:sldMk cId="3403585077" sldId="2147482988"/>
            <ac:spMk id="19" creationId="{3DB80CDD-8D40-07D1-2FB3-D52FB9F38E6D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3"/>
          <ac:spMkLst>
            <pc:docMk/>
            <pc:sldMk cId="3403585077" sldId="2147482988"/>
            <ac:spMk id="20" creationId="{A45692B0-6B8A-40B9-FF93-67676CB60782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2"/>
          <ac:spMkLst>
            <pc:docMk/>
            <pc:sldMk cId="3403585077" sldId="2147482988"/>
            <ac:spMk id="21" creationId="{02A0F490-2F1C-AE35-6130-2D5DDDEEFC1F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1"/>
          <ac:spMkLst>
            <pc:docMk/>
            <pc:sldMk cId="3403585077" sldId="2147482988"/>
            <ac:spMk id="22" creationId="{54D97DA4-9EE6-9A15-41A9-78B772BA96F7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50"/>
          <ac:spMkLst>
            <pc:docMk/>
            <pc:sldMk cId="3403585077" sldId="2147482988"/>
            <ac:spMk id="23" creationId="{A5E45C69-A7BF-14DA-8665-F67A7C2C4C17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9"/>
          <ac:spMkLst>
            <pc:docMk/>
            <pc:sldMk cId="3403585077" sldId="2147482988"/>
            <ac:spMk id="24" creationId="{C6B6250D-A22C-AAE9-5740-3B8642CBF8C7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8"/>
          <ac:spMkLst>
            <pc:docMk/>
            <pc:sldMk cId="3403585077" sldId="2147482988"/>
            <ac:spMk id="25" creationId="{361D3BB8-9313-608F-50AD-FE5620DC93F2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7"/>
          <ac:spMkLst>
            <pc:docMk/>
            <pc:sldMk cId="3403585077" sldId="2147482988"/>
            <ac:spMk id="26" creationId="{9B286D24-9600-AD5A-6449-90A6CA25C6A0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6"/>
          <ac:spMkLst>
            <pc:docMk/>
            <pc:sldMk cId="3403585077" sldId="2147482988"/>
            <ac:spMk id="27" creationId="{DACC86B2-F29C-1C17-B89B-3D9A7C3EDAF9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5"/>
          <ac:spMkLst>
            <pc:docMk/>
            <pc:sldMk cId="3403585077" sldId="2147482988"/>
            <ac:spMk id="28" creationId="{2EF7F76A-69C3-1B72-E4B1-E40408310F80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4"/>
          <ac:spMkLst>
            <pc:docMk/>
            <pc:sldMk cId="3403585077" sldId="2147482988"/>
            <ac:spMk id="29" creationId="{658DBA71-66A3-1E29-1BBC-1D8FD5D7033A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3"/>
          <ac:spMkLst>
            <pc:docMk/>
            <pc:sldMk cId="3403585077" sldId="2147482988"/>
            <ac:spMk id="31" creationId="{7C545E94-73DC-DB6B-3D4C-52565C11C6FC}"/>
          </ac:spMkLst>
        </pc:spChg>
        <pc:spChg chg="del mod">
          <ac:chgData name="Pawel STANISZEWSKI" userId="S::stanipawe1@ferrero.com::85a0c47f-b099-445b-9d4a-cf67b245ad3f" providerId="AD" clId="Web-{EBB973E5-A207-335F-1DDD-34C7C9D48861}" dt="2025-01-23T14:48:14.920" v="135"/>
          <ac:spMkLst>
            <pc:docMk/>
            <pc:sldMk cId="3403585077" sldId="2147482988"/>
            <ac:spMk id="32" creationId="{096EAC61-F8EB-A4EE-0262-00D0F862BFAD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7"/>
          <ac:spMkLst>
            <pc:docMk/>
            <pc:sldMk cId="3403585077" sldId="2147482988"/>
            <ac:spMk id="33" creationId="{F4783DE9-BD32-9537-09EE-15355A351FD3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4"/>
          <ac:spMkLst>
            <pc:docMk/>
            <pc:sldMk cId="3403585077" sldId="2147482988"/>
            <ac:spMk id="34" creationId="{6168602B-4E35-C668-DB3E-0D382ADD085A}"/>
          </ac:spMkLst>
        </pc:spChg>
        <pc:spChg chg="mod">
          <ac:chgData name="Pawel STANISZEWSKI" userId="S::stanipawe1@ferrero.com::85a0c47f-b099-445b-9d4a-cf67b245ad3f" providerId="AD" clId="Web-{EBB973E5-A207-335F-1DDD-34C7C9D48861}" dt="2025-01-23T14:49:45.344" v="150" actId="20577"/>
          <ac:spMkLst>
            <pc:docMk/>
            <pc:sldMk cId="3403585077" sldId="2147482988"/>
            <ac:spMk id="57" creationId="{77AE32B3-C8F3-0AD6-8244-DEFF9006064F}"/>
          </ac:spMkLst>
        </pc:spChg>
        <pc:spChg chg="mod">
          <ac:chgData name="Pawel STANISZEWSKI" userId="S::stanipawe1@ferrero.com::85a0c47f-b099-445b-9d4a-cf67b245ad3f" providerId="AD" clId="Web-{EBB973E5-A207-335F-1DDD-34C7C9D48861}" dt="2025-01-23T13:56:38.483" v="92" actId="14100"/>
          <ac:spMkLst>
            <pc:docMk/>
            <pc:sldMk cId="3403585077" sldId="2147482988"/>
            <ac:spMk id="58" creationId="{8D5BB7B2-F93B-C1EE-A292-F6F41696BE2F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0"/>
          <ac:spMkLst>
            <pc:docMk/>
            <pc:sldMk cId="3403585077" sldId="2147482988"/>
            <ac:spMk id="59" creationId="{4473C4EA-5B9E-A83C-0DDF-F6C90D88C79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9"/>
          <ac:spMkLst>
            <pc:docMk/>
            <pc:sldMk cId="3403585077" sldId="2147482988"/>
            <ac:spMk id="60" creationId="{F0B87815-FB81-CDAD-1512-6315183E82B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6"/>
          <ac:spMkLst>
            <pc:docMk/>
            <pc:sldMk cId="3403585077" sldId="2147482988"/>
            <ac:spMk id="61" creationId="{317107A4-E11C-72A2-B4C0-6773488383C0}"/>
          </ac:spMkLst>
        </pc:spChg>
        <pc:spChg chg="add del mod">
          <ac:chgData name="Pawel STANISZEWSKI" userId="S::stanipawe1@ferrero.com::85a0c47f-b099-445b-9d4a-cf67b245ad3f" providerId="AD" clId="Web-{EBB973E5-A207-335F-1DDD-34C7C9D48861}" dt="2025-01-23T14:50:56.033" v="165"/>
          <ac:spMkLst>
            <pc:docMk/>
            <pc:sldMk cId="3403585077" sldId="2147482988"/>
            <ac:spMk id="62" creationId="{ED4E1C93-F45E-C0FE-C583-893BFE55D23C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8"/>
          <ac:spMkLst>
            <pc:docMk/>
            <pc:sldMk cId="3403585077" sldId="2147482988"/>
            <ac:spMk id="63" creationId="{CDA0C4A5-C12C-0542-FCC9-6EB52B9D352A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8"/>
          <ac:spMkLst>
            <pc:docMk/>
            <pc:sldMk cId="3403585077" sldId="2147482988"/>
            <ac:spMk id="193" creationId="{E809710D-F18C-3CD4-388D-B4E0B32BC0F3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7"/>
          <ac:spMkLst>
            <pc:docMk/>
            <pc:sldMk cId="3403585077" sldId="2147482988"/>
            <ac:spMk id="194" creationId="{71EED467-65B8-22FA-B1B9-3D19DC593EA4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6"/>
          <ac:spMkLst>
            <pc:docMk/>
            <pc:sldMk cId="3403585077" sldId="2147482988"/>
            <ac:spMk id="197" creationId="{EF679C98-631B-25C4-1DB2-D64BCDA7489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5"/>
          <ac:spMkLst>
            <pc:docMk/>
            <pc:sldMk cId="3403585077" sldId="2147482988"/>
            <ac:spMk id="201" creationId="{D9977FC6-3441-01B9-91BF-D135BE16B459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4"/>
          <ac:spMkLst>
            <pc:docMk/>
            <pc:sldMk cId="3403585077" sldId="2147482988"/>
            <ac:spMk id="202" creationId="{FC43626D-0C16-7C25-C7AF-6B1D5E7E6A01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3"/>
          <ac:spMkLst>
            <pc:docMk/>
            <pc:sldMk cId="3403585077" sldId="2147482988"/>
            <ac:spMk id="204" creationId="{26B1E91C-6FEE-E7E3-3BCC-0E3B8158EB1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2"/>
          <ac:spMkLst>
            <pc:docMk/>
            <pc:sldMk cId="3403585077" sldId="2147482988"/>
            <ac:spMk id="206" creationId="{ECA9FE17-41F7-403A-23E6-747236BA901E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1"/>
          <ac:spMkLst>
            <pc:docMk/>
            <pc:sldMk cId="3403585077" sldId="2147482988"/>
            <ac:spMk id="207" creationId="{BE3EACC3-99F2-9546-C67E-EB8B0ACF21E4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10"/>
          <ac:spMkLst>
            <pc:docMk/>
            <pc:sldMk cId="3403585077" sldId="2147482988"/>
            <ac:spMk id="209" creationId="{D7932F42-5706-263B-CEF5-D8A9D5E8E385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5"/>
          <ac:spMkLst>
            <pc:docMk/>
            <pc:sldMk cId="3403585077" sldId="2147482988"/>
            <ac:spMk id="210" creationId="{068085E8-7A5A-9D03-8D91-316D093BCF8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3"/>
          <ac:spMkLst>
            <pc:docMk/>
            <pc:sldMk cId="3403585077" sldId="2147482988"/>
            <ac:spMk id="211" creationId="{4C0E10D4-FBB6-90DB-979B-7386BDA5407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"/>
          <ac:spMkLst>
            <pc:docMk/>
            <pc:sldMk cId="3403585077" sldId="2147482988"/>
            <ac:spMk id="212" creationId="{51E2A908-18BC-20B3-97DF-5810E4476169}"/>
          </ac:spMkLst>
        </pc:spChg>
        <pc:spChg chg="mod">
          <ac:chgData name="Pawel STANISZEWSKI" userId="S::stanipawe1@ferrero.com::85a0c47f-b099-445b-9d4a-cf67b245ad3f" providerId="AD" clId="Web-{EBB973E5-A207-335F-1DDD-34C7C9D48861}" dt="2025-01-23T14:45:26.665" v="120" actId="20577"/>
          <ac:spMkLst>
            <pc:docMk/>
            <pc:sldMk cId="3403585077" sldId="2147482988"/>
            <ac:spMk id="216" creationId="{B6FD5C45-00F0-40E8-BCD0-7C78A0AEC19C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2"/>
          <ac:spMkLst>
            <pc:docMk/>
            <pc:sldMk cId="3403585077" sldId="2147482988"/>
            <ac:spMk id="225" creationId="{43FA9B89-0027-A4E7-5025-5CC3D86BF9DE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1"/>
          <ac:spMkLst>
            <pc:docMk/>
            <pc:sldMk cId="3403585077" sldId="2147482988"/>
            <ac:spMk id="226" creationId="{33419A80-4365-C1FA-B8E2-227416887D7E}"/>
          </ac:spMkLst>
        </pc:spChg>
        <pc:spChg chg="del mod">
          <ac:chgData name="Pawel STANISZEWSKI" userId="S::stanipawe1@ferrero.com::85a0c47f-b099-445b-9d4a-cf67b245ad3f" providerId="AD" clId="Web-{EBB973E5-A207-335F-1DDD-34C7C9D48861}" dt="2025-01-23T14:48:14.920" v="136"/>
          <ac:spMkLst>
            <pc:docMk/>
            <pc:sldMk cId="3403585077" sldId="2147482988"/>
            <ac:spMk id="228" creationId="{61D2E34D-7F1F-4616-A8AB-1C9DB4E4F75F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40"/>
          <ac:spMkLst>
            <pc:docMk/>
            <pc:sldMk cId="3403585077" sldId="2147482988"/>
            <ac:spMk id="230" creationId="{1C71F6BF-4F59-6D7B-4A88-DC69EE177CE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39"/>
          <ac:spMkLst>
            <pc:docMk/>
            <pc:sldMk cId="3403585077" sldId="2147482988"/>
            <ac:spMk id="231" creationId="{D5F1A16E-DBFA-B052-7A4F-4AC9F8328184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38"/>
          <ac:spMkLst>
            <pc:docMk/>
            <pc:sldMk cId="3403585077" sldId="2147482988"/>
            <ac:spMk id="232" creationId="{20CD2F55-3F61-0BD0-FB7D-394047C8AF7C}"/>
          </ac:spMkLst>
        </pc:spChg>
        <pc:spChg chg="mod">
          <ac:chgData name="Pawel STANISZEWSKI" userId="S::stanipawe1@ferrero.com::85a0c47f-b099-445b-9d4a-cf67b245ad3f" providerId="AD" clId="Web-{EBB973E5-A207-335F-1DDD-34C7C9D48861}" dt="2025-01-23T14:48:05.185" v="134" actId="1076"/>
          <ac:spMkLst>
            <pc:docMk/>
            <pc:sldMk cId="3403585077" sldId="2147482988"/>
            <ac:spMk id="235" creationId="{B2EDD986-48A4-4415-B1A9-4655F4A6A472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37"/>
          <ac:spMkLst>
            <pc:docMk/>
            <pc:sldMk cId="3403585077" sldId="2147482988"/>
            <ac:spMk id="237" creationId="{6E9B2DC6-51DA-59FF-1E44-3508857A125F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36"/>
          <ac:spMkLst>
            <pc:docMk/>
            <pc:sldMk cId="3403585077" sldId="2147482988"/>
            <ac:spMk id="238" creationId="{BC27B974-BCBB-105F-4E23-011F4EEB9A19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801" v="35"/>
          <ac:spMkLst>
            <pc:docMk/>
            <pc:sldMk cId="3403585077" sldId="2147482988"/>
            <ac:spMk id="239" creationId="{4EE5AFDA-09A1-D4E7-5754-C1B0659244A5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34"/>
          <ac:spMkLst>
            <pc:docMk/>
            <pc:sldMk cId="3403585077" sldId="2147482988"/>
            <ac:spMk id="240" creationId="{FB4B7B78-8DBB-A4A4-B4C2-83A04B132FAD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33"/>
          <ac:spMkLst>
            <pc:docMk/>
            <pc:sldMk cId="3403585077" sldId="2147482988"/>
            <ac:spMk id="241" creationId="{8D6B7D41-64E9-AC94-F0B9-54E0BE697A1E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32"/>
          <ac:spMkLst>
            <pc:docMk/>
            <pc:sldMk cId="3403585077" sldId="2147482988"/>
            <ac:spMk id="242" creationId="{46779376-AAF4-C96C-067A-7A1B390AA48E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31"/>
          <ac:spMkLst>
            <pc:docMk/>
            <pc:sldMk cId="3403585077" sldId="2147482988"/>
            <ac:spMk id="243" creationId="{2A57FDA8-AB8E-4D8C-E05E-C8762D37A06A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30"/>
          <ac:spMkLst>
            <pc:docMk/>
            <pc:sldMk cId="3403585077" sldId="2147482988"/>
            <ac:spMk id="244" creationId="{1DB7403A-E49C-17C6-4761-C0E6553FF2B1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9"/>
          <ac:spMkLst>
            <pc:docMk/>
            <pc:sldMk cId="3403585077" sldId="2147482988"/>
            <ac:spMk id="245" creationId="{2AE4CABE-AE1C-1C31-A9C3-E85FE237246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8"/>
          <ac:spMkLst>
            <pc:docMk/>
            <pc:sldMk cId="3403585077" sldId="2147482988"/>
            <ac:spMk id="246" creationId="{0D9EDAED-6B84-AD58-BE0C-6A845B7556C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7"/>
          <ac:spMkLst>
            <pc:docMk/>
            <pc:sldMk cId="3403585077" sldId="2147482988"/>
            <ac:spMk id="247" creationId="{F2E3FCD2-0822-A979-B265-4B6D29D50190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6"/>
          <ac:spMkLst>
            <pc:docMk/>
            <pc:sldMk cId="3403585077" sldId="2147482988"/>
            <ac:spMk id="248" creationId="{CC7C63F2-C17A-2053-EA11-F5DAC39AC3AB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5"/>
          <ac:spMkLst>
            <pc:docMk/>
            <pc:sldMk cId="3403585077" sldId="2147482988"/>
            <ac:spMk id="249" creationId="{34934573-A016-5117-14A3-1F1A4289023F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4"/>
          <ac:spMkLst>
            <pc:docMk/>
            <pc:sldMk cId="3403585077" sldId="2147482988"/>
            <ac:spMk id="250" creationId="{F6B87251-EE49-0F4D-9E7C-52469963680A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3"/>
          <ac:spMkLst>
            <pc:docMk/>
            <pc:sldMk cId="3403585077" sldId="2147482988"/>
            <ac:spMk id="251" creationId="{04904A18-4A6E-F982-F06A-9F362A1BD53F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2"/>
          <ac:spMkLst>
            <pc:docMk/>
            <pc:sldMk cId="3403585077" sldId="2147482988"/>
            <ac:spMk id="252" creationId="{3FE0B8E9-2B7A-7138-45D9-A6D83A354288}"/>
          </ac:spMkLst>
        </pc:spChg>
        <pc:spChg chg="del">
          <ac:chgData name="Pawel STANISZEWSKI" userId="S::stanipawe1@ferrero.com::85a0c47f-b099-445b-9d4a-cf67b245ad3f" providerId="AD" clId="Web-{EBB973E5-A207-335F-1DDD-34C7C9D48861}" dt="2025-01-23T13:43:51.785" v="21"/>
          <ac:spMkLst>
            <pc:docMk/>
            <pc:sldMk cId="3403585077" sldId="2147482988"/>
            <ac:spMk id="253" creationId="{0468F29B-3C06-B796-1058-96FC73B9B4C0}"/>
          </ac:spMkLst>
        </pc:spChg>
        <pc:grpChg chg="del">
          <ac:chgData name="Pawel STANISZEWSKI" userId="S::stanipawe1@ferrero.com::85a0c47f-b099-445b-9d4a-cf67b245ad3f" providerId="AD" clId="Web-{EBB973E5-A207-335F-1DDD-34C7C9D48861}" dt="2025-01-23T13:43:51.785" v="9"/>
          <ac:grpSpMkLst>
            <pc:docMk/>
            <pc:sldMk cId="3403585077" sldId="2147482988"/>
            <ac:grpSpMk id="255" creationId="{CAE068E9-B86B-A9CC-1420-EDCA91FA2976}"/>
          </ac:grpSpMkLst>
        </pc:grpChg>
        <pc:picChg chg="add mod">
          <ac:chgData name="Pawel STANISZEWSKI" userId="S::stanipawe1@ferrero.com::85a0c47f-b099-445b-9d4a-cf67b245ad3f" providerId="AD" clId="Web-{EBB973E5-A207-335F-1DDD-34C7C9D48861}" dt="2025-01-23T14:44:24.711" v="111" actId="1076"/>
          <ac:picMkLst>
            <pc:docMk/>
            <pc:sldMk cId="3403585077" sldId="2147482988"/>
            <ac:picMk id="3" creationId="{03E4FE8D-2B69-43CE-8D08-972BB3D86BDC}"/>
          </ac:picMkLst>
        </pc:picChg>
        <pc:picChg chg="add mod">
          <ac:chgData name="Pawel STANISZEWSKI" userId="S::stanipawe1@ferrero.com::85a0c47f-b099-445b-9d4a-cf67b245ad3f" providerId="AD" clId="Web-{EBB973E5-A207-335F-1DDD-34C7C9D48861}" dt="2025-01-23T14:45:15.728" v="117" actId="1076"/>
          <ac:picMkLst>
            <pc:docMk/>
            <pc:sldMk cId="3403585077" sldId="2147482988"/>
            <ac:picMk id="8" creationId="{957AC783-FF6F-4F6B-828E-62CF329288C3}"/>
          </ac:picMkLst>
        </pc:picChg>
        <pc:picChg chg="add mod">
          <ac:chgData name="Pawel STANISZEWSKI" userId="S::stanipawe1@ferrero.com::85a0c47f-b099-445b-9d4a-cf67b245ad3f" providerId="AD" clId="Web-{EBB973E5-A207-335F-1DDD-34C7C9D48861}" dt="2025-01-23T14:47:01.261" v="131" actId="1076"/>
          <ac:picMkLst>
            <pc:docMk/>
            <pc:sldMk cId="3403585077" sldId="2147482988"/>
            <ac:picMk id="9" creationId="{CF1F7AB7-147D-4E91-A5E0-73AC755549CA}"/>
          </ac:picMkLst>
        </pc:picChg>
        <pc:picChg chg="add mod">
          <ac:chgData name="Pawel STANISZEWSKI" userId="S::stanipawe1@ferrero.com::85a0c47f-b099-445b-9d4a-cf67b245ad3f" providerId="AD" clId="Web-{EBB973E5-A207-335F-1DDD-34C7C9D48861}" dt="2025-01-23T14:52:51.098" v="199" actId="1076"/>
          <ac:picMkLst>
            <pc:docMk/>
            <pc:sldMk cId="3403585077" sldId="2147482988"/>
            <ac:picMk id="16" creationId="{83F9F986-73FF-4F3D-AA60-D8135F700198}"/>
          </ac:picMkLst>
        </pc:picChg>
        <pc:picChg chg="del">
          <ac:chgData name="Pawel STANISZEWSKI" userId="S::stanipawe1@ferrero.com::85a0c47f-b099-445b-9d4a-cf67b245ad3f" providerId="AD" clId="Web-{EBB973E5-A207-335F-1DDD-34C7C9D48861}" dt="2025-01-23T14:46:23.026" v="125"/>
          <ac:picMkLst>
            <pc:docMk/>
            <pc:sldMk cId="3403585077" sldId="2147482988"/>
            <ac:picMk id="30" creationId="{00000000-0000-0000-0000-000000000000}"/>
          </ac:picMkLst>
        </pc:picChg>
        <pc:picChg chg="add mod">
          <ac:chgData name="Pawel STANISZEWSKI" userId="S::stanipawe1@ferrero.com::85a0c47f-b099-445b-9d4a-cf67b245ad3f" providerId="AD" clId="Web-{EBB973E5-A207-335F-1DDD-34C7C9D48861}" dt="2025-01-23T14:44:31.148" v="112" actId="1076"/>
          <ac:picMkLst>
            <pc:docMk/>
            <pc:sldMk cId="3403585077" sldId="2147482988"/>
            <ac:picMk id="192" creationId="{2EE250C3-FD51-4745-896C-2AACFCDE28B4}"/>
          </ac:picMkLst>
        </pc:picChg>
        <pc:picChg chg="del">
          <ac:chgData name="Pawel STANISZEWSKI" userId="S::stanipawe1@ferrero.com::85a0c47f-b099-445b-9d4a-cf67b245ad3f" providerId="AD" clId="Web-{EBB973E5-A207-335F-1DDD-34C7C9D48861}" dt="2025-01-23T14:45:18.993" v="118"/>
          <ac:picMkLst>
            <pc:docMk/>
            <pc:sldMk cId="3403585077" sldId="2147482988"/>
            <ac:picMk id="218" creationId="{7A7A2D16-8A3F-42B5-AE91-AF84EB91073B}"/>
          </ac:picMkLst>
        </pc:picChg>
        <pc:picChg chg="del">
          <ac:chgData name="Pawel STANISZEWSKI" userId="S::stanipawe1@ferrero.com::85a0c47f-b099-445b-9d4a-cf67b245ad3f" providerId="AD" clId="Web-{EBB973E5-A207-335F-1DDD-34C7C9D48861}" dt="2025-01-23T14:44:41.367" v="114"/>
          <ac:picMkLst>
            <pc:docMk/>
            <pc:sldMk cId="3403585077" sldId="2147482988"/>
            <ac:picMk id="229" creationId="{3F9D4E20-0CF7-4C4B-8DB4-222407DF2476}"/>
          </ac:picMkLst>
        </pc:picChg>
        <pc:cxnChg chg="del">
          <ac:chgData name="Pawel STANISZEWSKI" userId="S::stanipawe1@ferrero.com::85a0c47f-b099-445b-9d4a-cf67b245ad3f" providerId="AD" clId="Web-{EBB973E5-A207-335F-1DDD-34C7C9D48861}" dt="2025-01-23T13:43:51.785" v="1"/>
          <ac:cxnSpMkLst>
            <pc:docMk/>
            <pc:sldMk cId="3403585077" sldId="2147482988"/>
            <ac:cxnSpMk id="42" creationId="{A78FBDBE-DD23-A86F-4CE4-A80A41E56E32}"/>
          </ac:cxnSpMkLst>
        </pc:cxnChg>
      </pc:sldChg>
    </pc:docChg>
  </pc:docChgLst>
  <pc:docChgLst>
    <pc:chgData name="Pawel STANISZEWSKI" userId="85a0c47f-b099-445b-9d4a-cf67b245ad3f" providerId="ADAL" clId="{705000BA-B9E8-476D-B25A-A6812C65BE6C}"/>
    <pc:docChg chg="modSld">
      <pc:chgData name="Pawel STANISZEWSKI" userId="85a0c47f-b099-445b-9d4a-cf67b245ad3f" providerId="ADAL" clId="{705000BA-B9E8-476D-B25A-A6812C65BE6C}" dt="2025-04-07T08:54:49.172" v="18" actId="1076"/>
      <pc:docMkLst>
        <pc:docMk/>
      </pc:docMkLst>
      <pc:sldChg chg="addSp modSp mod">
        <pc:chgData name="Pawel STANISZEWSKI" userId="85a0c47f-b099-445b-9d4a-cf67b245ad3f" providerId="ADAL" clId="{705000BA-B9E8-476D-B25A-A6812C65BE6C}" dt="2025-04-07T08:54:49.172" v="18" actId="1076"/>
        <pc:sldMkLst>
          <pc:docMk/>
          <pc:sldMk cId="3403585077" sldId="2147482988"/>
        </pc:sldMkLst>
        <pc:spChg chg="add mod">
          <ac:chgData name="Pawel STANISZEWSKI" userId="85a0c47f-b099-445b-9d4a-cf67b245ad3f" providerId="ADAL" clId="{705000BA-B9E8-476D-B25A-A6812C65BE6C}" dt="2025-04-07T08:54:39.948" v="17" actId="1076"/>
          <ac:spMkLst>
            <pc:docMk/>
            <pc:sldMk cId="3403585077" sldId="2147482988"/>
            <ac:spMk id="6" creationId="{1057A2C5-1128-6505-1155-0C341DC76931}"/>
          </ac:spMkLst>
        </pc:spChg>
        <pc:picChg chg="mod">
          <ac:chgData name="Pawel STANISZEWSKI" userId="85a0c47f-b099-445b-9d4a-cf67b245ad3f" providerId="ADAL" clId="{705000BA-B9E8-476D-B25A-A6812C65BE6C}" dt="2025-04-07T08:54:49.172" v="18" actId="1076"/>
          <ac:picMkLst>
            <pc:docMk/>
            <pc:sldMk cId="3403585077" sldId="2147482988"/>
            <ac:picMk id="9" creationId="{CF1F7AB7-147D-4E91-A5E0-73AC755549CA}"/>
          </ac:picMkLst>
        </pc:picChg>
      </pc:sldChg>
    </pc:docChg>
  </pc:docChgLst>
  <pc:docChgLst>
    <pc:chgData name="Pawel STANISZEWSKI" userId="S::stanipawe1@ferrero.com::85a0c47f-b099-445b-9d4a-cf67b245ad3f" providerId="AD" clId="Web-{D33D3DA0-3A65-D3BD-B471-36EACC69250E}"/>
    <pc:docChg chg="modSld">
      <pc:chgData name="Pawel STANISZEWSKI" userId="S::stanipawe1@ferrero.com::85a0c47f-b099-445b-9d4a-cf67b245ad3f" providerId="AD" clId="Web-{D33D3DA0-3A65-D3BD-B471-36EACC69250E}" dt="2025-04-07T09:43:10.204" v="48" actId="20577"/>
      <pc:docMkLst>
        <pc:docMk/>
      </pc:docMkLst>
      <pc:sldChg chg="modSp">
        <pc:chgData name="Pawel STANISZEWSKI" userId="S::stanipawe1@ferrero.com::85a0c47f-b099-445b-9d4a-cf67b245ad3f" providerId="AD" clId="Web-{D33D3DA0-3A65-D3BD-B471-36EACC69250E}" dt="2025-04-07T09:43:10.204" v="48" actId="20577"/>
        <pc:sldMkLst>
          <pc:docMk/>
          <pc:sldMk cId="3403585077" sldId="2147482988"/>
        </pc:sldMkLst>
        <pc:spChg chg="mod">
          <ac:chgData name="Pawel STANISZEWSKI" userId="S::stanipawe1@ferrero.com::85a0c47f-b099-445b-9d4a-cf67b245ad3f" providerId="AD" clId="Web-{D33D3DA0-3A65-D3BD-B471-36EACC69250E}" dt="2025-04-07T09:43:10.204" v="48" actId="20577"/>
          <ac:spMkLst>
            <pc:docMk/>
            <pc:sldMk cId="3403585077" sldId="2147482988"/>
            <ac:spMk id="2" creationId="{00000000-0000-0000-0000-000000000000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11.655" v="33" actId="20577"/>
          <ac:spMkLst>
            <pc:docMk/>
            <pc:sldMk cId="3403585077" sldId="2147482988"/>
            <ac:spMk id="12" creationId="{6959F6F5-DCE4-2DE3-0D85-61D2EE7D712B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32.312" v="40" actId="20577"/>
          <ac:spMkLst>
            <pc:docMk/>
            <pc:sldMk cId="3403585077" sldId="2147482988"/>
            <ac:spMk id="18" creationId="{B36FF9D5-430B-E6A9-DF5C-0E6EAAB3898A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1:43.795" v="26" actId="20577"/>
          <ac:spMkLst>
            <pc:docMk/>
            <pc:sldMk cId="3403585077" sldId="2147482988"/>
            <ac:spMk id="19" creationId="{D44D11F9-26EE-FB65-3E5A-2E5FF32C3E15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52.672" v="46" actId="20577"/>
          <ac:spMkLst>
            <pc:docMk/>
            <pc:sldMk cId="3403585077" sldId="2147482988"/>
            <ac:spMk id="20" creationId="{01B18B79-7102-D527-4E12-33659440D1CC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45.625" v="45" actId="20577"/>
          <ac:spMkLst>
            <pc:docMk/>
            <pc:sldMk cId="3403585077" sldId="2147482988"/>
            <ac:spMk id="36" creationId="{6F03F8C7-ADD6-4B32-ABA1-6B26C0A16B06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1:51.732" v="29" actId="20577"/>
          <ac:spMkLst>
            <pc:docMk/>
            <pc:sldMk cId="3403585077" sldId="2147482988"/>
            <ac:spMk id="37" creationId="{C6B1F20D-DEB3-4205-93DF-1460CC1B2280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1:54.154" v="31" actId="20577"/>
          <ac:spMkLst>
            <pc:docMk/>
            <pc:sldMk cId="3403585077" sldId="2147482988"/>
            <ac:spMk id="40" creationId="{378678FF-1D5A-4C55-8DD3-38D320D48707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19.452" v="35" actId="20577"/>
          <ac:spMkLst>
            <pc:docMk/>
            <pc:sldMk cId="3403585077" sldId="2147482988"/>
            <ac:spMk id="219" creationId="{1FBBB93C-E7C0-420F-9D9B-DA5437BC1D9A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25.827" v="38" actId="20577"/>
          <ac:spMkLst>
            <pc:docMk/>
            <pc:sldMk cId="3403585077" sldId="2147482988"/>
            <ac:spMk id="221" creationId="{9A6A1334-F60D-4218-B3BA-14EB4DE4A2E4}"/>
          </ac:spMkLst>
        </pc:spChg>
        <pc:spChg chg="mod">
          <ac:chgData name="Pawel STANISZEWSKI" userId="S::stanipawe1@ferrero.com::85a0c47f-b099-445b-9d4a-cf67b245ad3f" providerId="AD" clId="Web-{D33D3DA0-3A65-D3BD-B471-36EACC69250E}" dt="2025-04-07T09:42:06.061" v="32" actId="20577"/>
          <ac:spMkLst>
            <pc:docMk/>
            <pc:sldMk cId="3403585077" sldId="2147482988"/>
            <ac:spMk id="223" creationId="{AA20BF72-0AB8-49C8-9AD5-07C4B84DAF9F}"/>
          </ac:spMkLst>
        </pc:spChg>
      </pc:sldChg>
    </pc:docChg>
  </pc:docChgLst>
  <pc:docChgLst>
    <pc:chgData name="Pawel STANISZEWSKI" userId="85a0c47f-b099-445b-9d4a-cf67b245ad3f" providerId="ADAL" clId="{9D403243-BAAD-4E02-AC5B-13D3113AD1E7}"/>
    <pc:docChg chg="undo redo custSel addSld modSld sldOrd">
      <pc:chgData name="Pawel STANISZEWSKI" userId="85a0c47f-b099-445b-9d4a-cf67b245ad3f" providerId="ADAL" clId="{9D403243-BAAD-4E02-AC5B-13D3113AD1E7}" dt="2025-07-14T07:08:59.189" v="1264" actId="1076"/>
      <pc:docMkLst>
        <pc:docMk/>
      </pc:docMkLst>
      <pc:sldChg chg="modSp add mod ord">
        <pc:chgData name="Pawel STANISZEWSKI" userId="85a0c47f-b099-445b-9d4a-cf67b245ad3f" providerId="ADAL" clId="{9D403243-BAAD-4E02-AC5B-13D3113AD1E7}" dt="2025-07-11T13:59:22.841" v="63" actId="20577"/>
        <pc:sldMkLst>
          <pc:docMk/>
          <pc:sldMk cId="3891202736" sldId="257"/>
        </pc:sldMkLst>
        <pc:spChg chg="mod">
          <ac:chgData name="Pawel STANISZEWSKI" userId="85a0c47f-b099-445b-9d4a-cf67b245ad3f" providerId="ADAL" clId="{9D403243-BAAD-4E02-AC5B-13D3113AD1E7}" dt="2025-07-11T13:59:02.984" v="29" actId="20577"/>
          <ac:spMkLst>
            <pc:docMk/>
            <pc:sldMk cId="3891202736" sldId="257"/>
            <ac:spMk id="2" creationId="{00000000-0000-0000-0000-000000000000}"/>
          </ac:spMkLst>
        </pc:spChg>
        <pc:spChg chg="mod">
          <ac:chgData name="Pawel STANISZEWSKI" userId="85a0c47f-b099-445b-9d4a-cf67b245ad3f" providerId="ADAL" clId="{9D403243-BAAD-4E02-AC5B-13D3113AD1E7}" dt="2025-07-11T13:59:22.841" v="63" actId="20577"/>
          <ac:spMkLst>
            <pc:docMk/>
            <pc:sldMk cId="3891202736" sldId="257"/>
            <ac:spMk id="3" creationId="{00000000-0000-0000-0000-000000000000}"/>
          </ac:spMkLst>
        </pc:spChg>
      </pc:sldChg>
      <pc:sldChg chg="addSp delSp modSp mod">
        <pc:chgData name="Pawel STANISZEWSKI" userId="85a0c47f-b099-445b-9d4a-cf67b245ad3f" providerId="ADAL" clId="{9D403243-BAAD-4E02-AC5B-13D3113AD1E7}" dt="2025-07-11T14:36:32.623" v="426" actId="20577"/>
        <pc:sldMkLst>
          <pc:docMk/>
          <pc:sldMk cId="3403585077" sldId="2147482988"/>
        </pc:sldMkLst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" creationId="{00000000-0000-0000-0000-000000000000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6" creationId="{1057A2C5-1128-6505-1155-0C341DC76931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7" creationId="{C9692E88-F7C8-840C-057A-861B863729E6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0" creationId="{DBC99573-4CD1-0CC6-FEA9-8FB66AF3C02E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1" creationId="{D9429B2C-BE7E-ACDC-C312-4C6A18348CCB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2" creationId="{6959F6F5-DCE4-2DE3-0D85-61D2EE7D712B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3" creationId="{793BEF90-F8C3-7624-C314-673D95A09211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5" creationId="{53B73403-8435-D850-F5C9-EA012B76A051}"/>
          </ac:spMkLst>
        </pc:spChg>
        <pc:spChg chg="add mod">
          <ac:chgData name="Pawel STANISZEWSKI" userId="85a0c47f-b099-445b-9d4a-cf67b245ad3f" providerId="ADAL" clId="{9D403243-BAAD-4E02-AC5B-13D3113AD1E7}" dt="2025-07-11T13:59:47.902" v="80" actId="20577"/>
          <ac:spMkLst>
            <pc:docMk/>
            <pc:sldMk cId="3403585077" sldId="2147482988"/>
            <ac:spMk id="17" creationId="{4008CFBB-65DF-B8AA-CF5A-3C5A7C5C1467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8" creationId="{B36FF9D5-430B-E6A9-DF5C-0E6EAAB3898A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19" creationId="{D44D11F9-26EE-FB65-3E5A-2E5FF32C3E15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0" creationId="{01B18B79-7102-D527-4E12-33659440D1CC}"/>
          </ac:spMkLst>
        </pc:spChg>
        <pc:spChg chg="del">
          <ac:chgData name="Pawel STANISZEWSKI" userId="85a0c47f-b099-445b-9d4a-cf67b245ad3f" providerId="ADAL" clId="{9D403243-BAAD-4E02-AC5B-13D3113AD1E7}" dt="2025-07-11T13:57:34.927" v="0" actId="478"/>
          <ac:spMkLst>
            <pc:docMk/>
            <pc:sldMk cId="3403585077" sldId="2147482988"/>
            <ac:spMk id="23" creationId="{507F7DF5-8FA7-C5C2-6A1A-C29D037F7A37}"/>
          </ac:spMkLst>
        </pc:spChg>
        <pc:spChg chg="add del">
          <ac:chgData name="Pawel STANISZEWSKI" userId="85a0c47f-b099-445b-9d4a-cf67b245ad3f" providerId="ADAL" clId="{9D403243-BAAD-4E02-AC5B-13D3113AD1E7}" dt="2025-07-11T14:16:14.891" v="195" actId="11529"/>
          <ac:spMkLst>
            <pc:docMk/>
            <pc:sldMk cId="3403585077" sldId="2147482988"/>
            <ac:spMk id="26" creationId="{EAD7E483-7436-9A82-1853-A6A661E20AA4}"/>
          </ac:spMkLst>
        </pc:spChg>
        <pc:spChg chg="add del mod">
          <ac:chgData name="Pawel STANISZEWSKI" userId="85a0c47f-b099-445b-9d4a-cf67b245ad3f" providerId="ADAL" clId="{9D403243-BAAD-4E02-AC5B-13D3113AD1E7}" dt="2025-07-11T14:23:23.324" v="263" actId="478"/>
          <ac:spMkLst>
            <pc:docMk/>
            <pc:sldMk cId="3403585077" sldId="2147482988"/>
            <ac:spMk id="27" creationId="{4300BCE0-8CE9-8B6A-1EB2-10AA86A7D1CD}"/>
          </ac:spMkLst>
        </pc:spChg>
        <pc:spChg chg="add del mod">
          <ac:chgData name="Pawel STANISZEWSKI" userId="85a0c47f-b099-445b-9d4a-cf67b245ad3f" providerId="ADAL" clId="{9D403243-BAAD-4E02-AC5B-13D3113AD1E7}" dt="2025-07-11T14:23:19.579" v="260" actId="478"/>
          <ac:spMkLst>
            <pc:docMk/>
            <pc:sldMk cId="3403585077" sldId="2147482988"/>
            <ac:spMk id="28" creationId="{21447548-1988-863E-8825-33263A4E88CD}"/>
          </ac:spMkLst>
        </pc:spChg>
        <pc:spChg chg="add del mod">
          <ac:chgData name="Pawel STANISZEWSKI" userId="85a0c47f-b099-445b-9d4a-cf67b245ad3f" providerId="ADAL" clId="{9D403243-BAAD-4E02-AC5B-13D3113AD1E7}" dt="2025-07-11T14:23:18.843" v="259" actId="478"/>
          <ac:spMkLst>
            <pc:docMk/>
            <pc:sldMk cId="3403585077" sldId="2147482988"/>
            <ac:spMk id="29" creationId="{66FA4440-FC6F-703F-816F-BC086208D9B4}"/>
          </ac:spMkLst>
        </pc:spChg>
        <pc:spChg chg="add del mod">
          <ac:chgData name="Pawel STANISZEWSKI" userId="85a0c47f-b099-445b-9d4a-cf67b245ad3f" providerId="ADAL" clId="{9D403243-BAAD-4E02-AC5B-13D3113AD1E7}" dt="2025-07-11T14:23:25.083" v="264" actId="478"/>
          <ac:spMkLst>
            <pc:docMk/>
            <pc:sldMk cId="3403585077" sldId="2147482988"/>
            <ac:spMk id="30" creationId="{90481601-04A2-B5D4-F5DD-C8B5DBB0296D}"/>
          </ac:spMkLst>
        </pc:spChg>
        <pc:spChg chg="add del mod">
          <ac:chgData name="Pawel STANISZEWSKI" userId="85a0c47f-b099-445b-9d4a-cf67b245ad3f" providerId="ADAL" clId="{9D403243-BAAD-4E02-AC5B-13D3113AD1E7}" dt="2025-07-11T14:23:26.379" v="265" actId="478"/>
          <ac:spMkLst>
            <pc:docMk/>
            <pc:sldMk cId="3403585077" sldId="2147482988"/>
            <ac:spMk id="31" creationId="{1FB20D56-84C8-80E1-421F-8266E0556AC0}"/>
          </ac:spMkLst>
        </pc:spChg>
        <pc:spChg chg="add del mod">
          <ac:chgData name="Pawel STANISZEWSKI" userId="85a0c47f-b099-445b-9d4a-cf67b245ad3f" providerId="ADAL" clId="{9D403243-BAAD-4E02-AC5B-13D3113AD1E7}" dt="2025-07-11T14:23:27.660" v="266" actId="478"/>
          <ac:spMkLst>
            <pc:docMk/>
            <pc:sldMk cId="3403585077" sldId="2147482988"/>
            <ac:spMk id="32" creationId="{F515AA2C-737E-4256-D5EB-FBCA4DECF51C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57" creationId="{77AE32B3-C8F3-0AD6-8244-DEFF9006064F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58" creationId="{8D5BB7B2-F93B-C1EE-A292-F6F41696BE2F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16" creationId="{B6FD5C45-00F0-40E8-BCD0-7C78A0AEC19C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17" creationId="{E3FB31D8-D77E-4421-9152-3E3ABACAC36A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19" creationId="{1FBBB93C-E7C0-420F-9D9B-DA5437BC1D9A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20" creationId="{6E0E3C43-F37A-4750-8409-F256C3391C67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21" creationId="{9A6A1334-F60D-4218-B3BA-14EB4DE4A2E4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22" creationId="{17223794-E514-49A9-B2EF-9A53370FCA39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23" creationId="{AA20BF72-0AB8-49C8-9AD5-07C4B84DAF9F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24" creationId="{3AF217A0-74E5-43B0-8C89-09AE24569DA9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34" creationId="{C93F4153-4D9D-49DA-BCFA-E241055FBD52}"/>
          </ac:spMkLst>
        </pc:spChg>
        <pc:spChg chg="del">
          <ac:chgData name="Pawel STANISZEWSKI" userId="85a0c47f-b099-445b-9d4a-cf67b245ad3f" providerId="ADAL" clId="{9D403243-BAAD-4E02-AC5B-13D3113AD1E7}" dt="2025-07-11T13:57:54.250" v="3" actId="478"/>
          <ac:spMkLst>
            <pc:docMk/>
            <pc:sldMk cId="3403585077" sldId="2147482988"/>
            <ac:spMk id="235" creationId="{B2EDD986-48A4-4415-B1A9-4655F4A6A472}"/>
          </ac:spMkLst>
        </pc:spChg>
        <pc:grpChg chg="del">
          <ac:chgData name="Pawel STANISZEWSKI" userId="85a0c47f-b099-445b-9d4a-cf67b245ad3f" providerId="ADAL" clId="{9D403243-BAAD-4E02-AC5B-13D3113AD1E7}" dt="2025-07-11T13:57:54.250" v="3" actId="478"/>
          <ac:grpSpMkLst>
            <pc:docMk/>
            <pc:sldMk cId="3403585077" sldId="2147482988"/>
            <ac:grpSpMk id="35" creationId="{B566641A-E1D4-4F4A-B9FE-7D915095EC39}"/>
          </ac:grpSpMkLst>
        </pc:grpChg>
        <pc:graphicFrameChg chg="add del mod modGraphic">
          <ac:chgData name="Pawel STANISZEWSKI" userId="85a0c47f-b099-445b-9d4a-cf67b245ad3f" providerId="ADAL" clId="{9D403243-BAAD-4E02-AC5B-13D3113AD1E7}" dt="2025-07-11T14:23:48.436" v="271" actId="1076"/>
          <ac:graphicFrameMkLst>
            <pc:docMk/>
            <pc:sldMk cId="3403585077" sldId="2147482988"/>
            <ac:graphicFrameMk id="21" creationId="{6DA358B4-6AA2-569A-A78A-BDFB2C7A812F}"/>
          </ac:graphicFrameMkLst>
        </pc:graphicFrameChg>
        <pc:graphicFrameChg chg="add mod modGraphic">
          <ac:chgData name="Pawel STANISZEWSKI" userId="85a0c47f-b099-445b-9d4a-cf67b245ad3f" providerId="ADAL" clId="{9D403243-BAAD-4E02-AC5B-13D3113AD1E7}" dt="2025-07-11T14:36:32.623" v="426" actId="20577"/>
          <ac:graphicFrameMkLst>
            <pc:docMk/>
            <pc:sldMk cId="3403585077" sldId="2147482988"/>
            <ac:graphicFrameMk id="33" creationId="{95950EB0-8022-C7C5-0606-4034F0F5E775}"/>
          </ac:graphicFrameMkLst>
        </pc:graphicFrameChg>
        <pc:picChg chg="del">
          <ac:chgData name="Pawel STANISZEWSKI" userId="85a0c47f-b099-445b-9d4a-cf67b245ad3f" providerId="ADAL" clId="{9D403243-BAAD-4E02-AC5B-13D3113AD1E7}" dt="2025-07-11T13:57:54.250" v="3" actId="478"/>
          <ac:picMkLst>
            <pc:docMk/>
            <pc:sldMk cId="3403585077" sldId="2147482988"/>
            <ac:picMk id="3" creationId="{03E4FE8D-2B69-43CE-8D08-972BB3D86BDC}"/>
          </ac:picMkLst>
        </pc:picChg>
        <pc:picChg chg="del">
          <ac:chgData name="Pawel STANISZEWSKI" userId="85a0c47f-b099-445b-9d4a-cf67b245ad3f" providerId="ADAL" clId="{9D403243-BAAD-4E02-AC5B-13D3113AD1E7}" dt="2025-07-11T13:57:54.250" v="3" actId="478"/>
          <ac:picMkLst>
            <pc:docMk/>
            <pc:sldMk cId="3403585077" sldId="2147482988"/>
            <ac:picMk id="8" creationId="{957AC783-FF6F-4F6B-828E-62CF329288C3}"/>
          </ac:picMkLst>
        </pc:picChg>
        <pc:picChg chg="del">
          <ac:chgData name="Pawel STANISZEWSKI" userId="85a0c47f-b099-445b-9d4a-cf67b245ad3f" providerId="ADAL" clId="{9D403243-BAAD-4E02-AC5B-13D3113AD1E7}" dt="2025-07-11T13:57:54.250" v="3" actId="478"/>
          <ac:picMkLst>
            <pc:docMk/>
            <pc:sldMk cId="3403585077" sldId="2147482988"/>
            <ac:picMk id="9" creationId="{CF1F7AB7-147D-4E91-A5E0-73AC755549CA}"/>
          </ac:picMkLst>
        </pc:picChg>
        <pc:picChg chg="del">
          <ac:chgData name="Pawel STANISZEWSKI" userId="85a0c47f-b099-445b-9d4a-cf67b245ad3f" providerId="ADAL" clId="{9D403243-BAAD-4E02-AC5B-13D3113AD1E7}" dt="2025-07-11T13:57:54.250" v="3" actId="478"/>
          <ac:picMkLst>
            <pc:docMk/>
            <pc:sldMk cId="3403585077" sldId="2147482988"/>
            <ac:picMk id="16" creationId="{83F9F986-73FF-4F3D-AA60-D8135F700198}"/>
          </ac:picMkLst>
        </pc:picChg>
        <pc:picChg chg="add del mod">
          <ac:chgData name="Pawel STANISZEWSKI" userId="85a0c47f-b099-445b-9d4a-cf67b245ad3f" providerId="ADAL" clId="{9D403243-BAAD-4E02-AC5B-13D3113AD1E7}" dt="2025-07-11T14:23:17.019" v="258" actId="478"/>
          <ac:picMkLst>
            <pc:docMk/>
            <pc:sldMk cId="3403585077" sldId="2147482988"/>
            <ac:picMk id="25" creationId="{377A8E5A-D88A-6714-AC5E-0235084BC9DE}"/>
          </ac:picMkLst>
        </pc:picChg>
        <pc:picChg chg="del">
          <ac:chgData name="Pawel STANISZEWSKI" userId="85a0c47f-b099-445b-9d4a-cf67b245ad3f" providerId="ADAL" clId="{9D403243-BAAD-4E02-AC5B-13D3113AD1E7}" dt="2025-07-11T13:57:54.250" v="3" actId="478"/>
          <ac:picMkLst>
            <pc:docMk/>
            <pc:sldMk cId="3403585077" sldId="2147482988"/>
            <ac:picMk id="192" creationId="{2EE250C3-FD51-4745-896C-2AACFCDE28B4}"/>
          </ac:picMkLst>
        </pc:picChg>
        <pc:cxnChg chg="del">
          <ac:chgData name="Pawel STANISZEWSKI" userId="85a0c47f-b099-445b-9d4a-cf67b245ad3f" providerId="ADAL" clId="{9D403243-BAAD-4E02-AC5B-13D3113AD1E7}" dt="2025-07-11T13:57:36.423" v="1" actId="478"/>
          <ac:cxnSpMkLst>
            <pc:docMk/>
            <pc:sldMk cId="3403585077" sldId="2147482988"/>
            <ac:cxnSpMk id="22" creationId="{0D3DDF87-4979-87FB-57AA-2280708BD841}"/>
          </ac:cxnSpMkLst>
        </pc:cxnChg>
      </pc:sldChg>
      <pc:sldChg chg="addSp modSp new mod">
        <pc:chgData name="Pawel STANISZEWSKI" userId="85a0c47f-b099-445b-9d4a-cf67b245ad3f" providerId="ADAL" clId="{9D403243-BAAD-4E02-AC5B-13D3113AD1E7}" dt="2025-07-14T06:32:22.009" v="436" actId="14100"/>
        <pc:sldMkLst>
          <pc:docMk/>
          <pc:sldMk cId="1474399946" sldId="2147482989"/>
        </pc:sldMkLst>
        <pc:spChg chg="mod">
          <ac:chgData name="Pawel STANISZEWSKI" userId="85a0c47f-b099-445b-9d4a-cf67b245ad3f" providerId="ADAL" clId="{9D403243-BAAD-4E02-AC5B-13D3113AD1E7}" dt="2025-07-14T06:30:59.081" v="427"/>
          <ac:spMkLst>
            <pc:docMk/>
            <pc:sldMk cId="1474399946" sldId="2147482989"/>
            <ac:spMk id="2" creationId="{13623D62-FC6A-23CA-5729-3433D8091A13}"/>
          </ac:spMkLst>
        </pc:spChg>
        <pc:spChg chg="add mod">
          <ac:chgData name="Pawel STANISZEWSKI" userId="85a0c47f-b099-445b-9d4a-cf67b245ad3f" providerId="ADAL" clId="{9D403243-BAAD-4E02-AC5B-13D3113AD1E7}" dt="2025-07-14T06:31:36.777" v="431" actId="14100"/>
          <ac:spMkLst>
            <pc:docMk/>
            <pc:sldMk cId="1474399946" sldId="2147482989"/>
            <ac:spMk id="4" creationId="{63F1B060-F84C-B772-90DB-8E817B5E7923}"/>
          </ac:spMkLst>
        </pc:spChg>
        <pc:spChg chg="add mod">
          <ac:chgData name="Pawel STANISZEWSKI" userId="85a0c47f-b099-445b-9d4a-cf67b245ad3f" providerId="ADAL" clId="{9D403243-BAAD-4E02-AC5B-13D3113AD1E7}" dt="2025-07-14T06:32:02.586" v="434" actId="1076"/>
          <ac:spMkLst>
            <pc:docMk/>
            <pc:sldMk cId="1474399946" sldId="2147482989"/>
            <ac:spMk id="5" creationId="{2BB84EF8-D1A2-68C6-D697-203B140AF085}"/>
          </ac:spMkLst>
        </pc:spChg>
        <pc:spChg chg="add mod">
          <ac:chgData name="Pawel STANISZEWSKI" userId="85a0c47f-b099-445b-9d4a-cf67b245ad3f" providerId="ADAL" clId="{9D403243-BAAD-4E02-AC5B-13D3113AD1E7}" dt="2025-07-14T06:32:16.919" v="435" actId="1076"/>
          <ac:spMkLst>
            <pc:docMk/>
            <pc:sldMk cId="1474399946" sldId="2147482989"/>
            <ac:spMk id="6" creationId="{B556AD82-AE9C-32C7-58C0-4709B0DD90C2}"/>
          </ac:spMkLst>
        </pc:spChg>
        <pc:spChg chg="add mod">
          <ac:chgData name="Pawel STANISZEWSKI" userId="85a0c47f-b099-445b-9d4a-cf67b245ad3f" providerId="ADAL" clId="{9D403243-BAAD-4E02-AC5B-13D3113AD1E7}" dt="2025-07-11T14:23:04.938" v="257" actId="1076"/>
          <ac:spMkLst>
            <pc:docMk/>
            <pc:sldMk cId="1474399946" sldId="2147482989"/>
            <ac:spMk id="7" creationId="{62B643F3-D40E-693A-EE91-88A73B975E25}"/>
          </ac:spMkLst>
        </pc:spChg>
        <pc:spChg chg="add mod">
          <ac:chgData name="Pawel STANISZEWSKI" userId="85a0c47f-b099-445b-9d4a-cf67b245ad3f" providerId="ADAL" clId="{9D403243-BAAD-4E02-AC5B-13D3113AD1E7}" dt="2025-07-14T06:32:02.586" v="434" actId="1076"/>
          <ac:spMkLst>
            <pc:docMk/>
            <pc:sldMk cId="1474399946" sldId="2147482989"/>
            <ac:spMk id="8" creationId="{84B7F3B3-E9BF-7302-0B57-FF7682C26CF6}"/>
          </ac:spMkLst>
        </pc:spChg>
        <pc:spChg chg="add mod">
          <ac:chgData name="Pawel STANISZEWSKI" userId="85a0c47f-b099-445b-9d4a-cf67b245ad3f" providerId="ADAL" clId="{9D403243-BAAD-4E02-AC5B-13D3113AD1E7}" dt="2025-07-14T06:32:16.919" v="435" actId="1076"/>
          <ac:spMkLst>
            <pc:docMk/>
            <pc:sldMk cId="1474399946" sldId="2147482989"/>
            <ac:spMk id="9" creationId="{65FDF541-8686-AEAD-AEB5-4D44BC51E409}"/>
          </ac:spMkLst>
        </pc:spChg>
        <pc:picChg chg="add mod">
          <ac:chgData name="Pawel STANISZEWSKI" userId="85a0c47f-b099-445b-9d4a-cf67b245ad3f" providerId="ADAL" clId="{9D403243-BAAD-4E02-AC5B-13D3113AD1E7}" dt="2025-07-14T06:32:22.009" v="436" actId="14100"/>
          <ac:picMkLst>
            <pc:docMk/>
            <pc:sldMk cId="1474399946" sldId="2147482989"/>
            <ac:picMk id="3" creationId="{31C451E6-CCBE-CA37-5BFB-A79FCB5DAC9C}"/>
          </ac:picMkLst>
        </pc:picChg>
      </pc:sldChg>
      <pc:sldChg chg="addSp delSp modSp add mod">
        <pc:chgData name="Pawel STANISZEWSKI" userId="85a0c47f-b099-445b-9d4a-cf67b245ad3f" providerId="ADAL" clId="{9D403243-BAAD-4E02-AC5B-13D3113AD1E7}" dt="2025-07-14T06:59:35.711" v="997" actId="14100"/>
        <pc:sldMkLst>
          <pc:docMk/>
          <pc:sldMk cId="151590352" sldId="2147482990"/>
        </pc:sldMkLst>
        <pc:spChg chg="mod">
          <ac:chgData name="Pawel STANISZEWSKI" userId="85a0c47f-b099-445b-9d4a-cf67b245ad3f" providerId="ADAL" clId="{9D403243-BAAD-4E02-AC5B-13D3113AD1E7}" dt="2025-07-14T06:37:18.495" v="495" actId="20577"/>
          <ac:spMkLst>
            <pc:docMk/>
            <pc:sldMk cId="151590352" sldId="2147482990"/>
            <ac:spMk id="2" creationId="{13623D62-FC6A-23CA-5729-3433D8091A13}"/>
          </ac:spMkLst>
        </pc:spChg>
        <pc:spChg chg="del">
          <ac:chgData name="Pawel STANISZEWSKI" userId="85a0c47f-b099-445b-9d4a-cf67b245ad3f" providerId="ADAL" clId="{9D403243-BAAD-4E02-AC5B-13D3113AD1E7}" dt="2025-07-14T06:36:47.761" v="438" actId="478"/>
          <ac:spMkLst>
            <pc:docMk/>
            <pc:sldMk cId="151590352" sldId="2147482990"/>
            <ac:spMk id="4" creationId="{63F1B060-F84C-B772-90DB-8E817B5E7923}"/>
          </ac:spMkLst>
        </pc:spChg>
        <pc:spChg chg="del">
          <ac:chgData name="Pawel STANISZEWSKI" userId="85a0c47f-b099-445b-9d4a-cf67b245ad3f" providerId="ADAL" clId="{9D403243-BAAD-4E02-AC5B-13D3113AD1E7}" dt="2025-07-14T06:36:47.761" v="438" actId="478"/>
          <ac:spMkLst>
            <pc:docMk/>
            <pc:sldMk cId="151590352" sldId="2147482990"/>
            <ac:spMk id="5" creationId="{2BB84EF8-D1A2-68C6-D697-203B140AF085}"/>
          </ac:spMkLst>
        </pc:spChg>
        <pc:spChg chg="del">
          <ac:chgData name="Pawel STANISZEWSKI" userId="85a0c47f-b099-445b-9d4a-cf67b245ad3f" providerId="ADAL" clId="{9D403243-BAAD-4E02-AC5B-13D3113AD1E7}" dt="2025-07-14T06:36:47.761" v="438" actId="478"/>
          <ac:spMkLst>
            <pc:docMk/>
            <pc:sldMk cId="151590352" sldId="2147482990"/>
            <ac:spMk id="6" creationId="{B556AD82-AE9C-32C7-58C0-4709B0DD90C2}"/>
          </ac:spMkLst>
        </pc:spChg>
        <pc:spChg chg="del">
          <ac:chgData name="Pawel STANISZEWSKI" userId="85a0c47f-b099-445b-9d4a-cf67b245ad3f" providerId="ADAL" clId="{9D403243-BAAD-4E02-AC5B-13D3113AD1E7}" dt="2025-07-14T06:36:50.127" v="440" actId="478"/>
          <ac:spMkLst>
            <pc:docMk/>
            <pc:sldMk cId="151590352" sldId="2147482990"/>
            <ac:spMk id="7" creationId="{62B643F3-D40E-693A-EE91-88A73B975E25}"/>
          </ac:spMkLst>
        </pc:spChg>
        <pc:spChg chg="del">
          <ac:chgData name="Pawel STANISZEWSKI" userId="85a0c47f-b099-445b-9d4a-cf67b245ad3f" providerId="ADAL" clId="{9D403243-BAAD-4E02-AC5B-13D3113AD1E7}" dt="2025-07-14T06:36:47.761" v="438" actId="478"/>
          <ac:spMkLst>
            <pc:docMk/>
            <pc:sldMk cId="151590352" sldId="2147482990"/>
            <ac:spMk id="8" creationId="{84B7F3B3-E9BF-7302-0B57-FF7682C26CF6}"/>
          </ac:spMkLst>
        </pc:spChg>
        <pc:spChg chg="del">
          <ac:chgData name="Pawel STANISZEWSKI" userId="85a0c47f-b099-445b-9d4a-cf67b245ad3f" providerId="ADAL" clId="{9D403243-BAAD-4E02-AC5B-13D3113AD1E7}" dt="2025-07-14T06:36:47.761" v="438" actId="478"/>
          <ac:spMkLst>
            <pc:docMk/>
            <pc:sldMk cId="151590352" sldId="2147482990"/>
            <ac:spMk id="9" creationId="{65FDF541-8686-AEAD-AEB5-4D44BC51E409}"/>
          </ac:spMkLst>
        </pc:spChg>
        <pc:spChg chg="add mod">
          <ac:chgData name="Pawel STANISZEWSKI" userId="85a0c47f-b099-445b-9d4a-cf67b245ad3f" providerId="ADAL" clId="{9D403243-BAAD-4E02-AC5B-13D3113AD1E7}" dt="2025-07-14T06:52:01.685" v="917" actId="1076"/>
          <ac:spMkLst>
            <pc:docMk/>
            <pc:sldMk cId="151590352" sldId="2147482990"/>
            <ac:spMk id="11" creationId="{33D0ECF4-325C-5972-FEA6-8A0C9E4A641F}"/>
          </ac:spMkLst>
        </pc:spChg>
        <pc:spChg chg="add mod">
          <ac:chgData name="Pawel STANISZEWSKI" userId="85a0c47f-b099-445b-9d4a-cf67b245ad3f" providerId="ADAL" clId="{9D403243-BAAD-4E02-AC5B-13D3113AD1E7}" dt="2025-07-14T06:54:33.245" v="946" actId="115"/>
          <ac:spMkLst>
            <pc:docMk/>
            <pc:sldMk cId="151590352" sldId="2147482990"/>
            <ac:spMk id="12" creationId="{594800BF-B0C8-41F9-6688-7915935ACE1D}"/>
          </ac:spMkLst>
        </pc:spChg>
        <pc:spChg chg="add mod">
          <ac:chgData name="Pawel STANISZEWSKI" userId="85a0c47f-b099-445b-9d4a-cf67b245ad3f" providerId="ADAL" clId="{9D403243-BAAD-4E02-AC5B-13D3113AD1E7}" dt="2025-07-14T06:56:35.781" v="957" actId="1076"/>
          <ac:spMkLst>
            <pc:docMk/>
            <pc:sldMk cId="151590352" sldId="2147482990"/>
            <ac:spMk id="13" creationId="{50AE0916-7D8A-17FD-5D7C-72E08F4C09CD}"/>
          </ac:spMkLst>
        </pc:spChg>
        <pc:spChg chg="add mod">
          <ac:chgData name="Pawel STANISZEWSKI" userId="85a0c47f-b099-445b-9d4a-cf67b245ad3f" providerId="ADAL" clId="{9D403243-BAAD-4E02-AC5B-13D3113AD1E7}" dt="2025-07-14T06:56:28.171" v="955" actId="1076"/>
          <ac:spMkLst>
            <pc:docMk/>
            <pc:sldMk cId="151590352" sldId="2147482990"/>
            <ac:spMk id="14" creationId="{327DD469-64AB-1E71-B91E-DA84D95161DD}"/>
          </ac:spMkLst>
        </pc:spChg>
        <pc:spChg chg="add mod">
          <ac:chgData name="Pawel STANISZEWSKI" userId="85a0c47f-b099-445b-9d4a-cf67b245ad3f" providerId="ADAL" clId="{9D403243-BAAD-4E02-AC5B-13D3113AD1E7}" dt="2025-07-14T06:59:12.616" v="992" actId="14100"/>
          <ac:spMkLst>
            <pc:docMk/>
            <pc:sldMk cId="151590352" sldId="2147482990"/>
            <ac:spMk id="15" creationId="{B19AF243-9E94-69C2-6605-93C78D224AF3}"/>
          </ac:spMkLst>
        </pc:spChg>
        <pc:spChg chg="add mod">
          <ac:chgData name="Pawel STANISZEWSKI" userId="85a0c47f-b099-445b-9d4a-cf67b245ad3f" providerId="ADAL" clId="{9D403243-BAAD-4E02-AC5B-13D3113AD1E7}" dt="2025-07-14T06:59:35.711" v="997" actId="14100"/>
          <ac:spMkLst>
            <pc:docMk/>
            <pc:sldMk cId="151590352" sldId="2147482990"/>
            <ac:spMk id="16" creationId="{EBA0ED09-7347-C025-191A-43C2D1FA35FE}"/>
          </ac:spMkLst>
        </pc:spChg>
        <pc:picChg chg="del">
          <ac:chgData name="Pawel STANISZEWSKI" userId="85a0c47f-b099-445b-9d4a-cf67b245ad3f" providerId="ADAL" clId="{9D403243-BAAD-4E02-AC5B-13D3113AD1E7}" dt="2025-07-14T06:36:48.161" v="439" actId="478"/>
          <ac:picMkLst>
            <pc:docMk/>
            <pc:sldMk cId="151590352" sldId="2147482990"/>
            <ac:picMk id="3" creationId="{31C451E6-CCBE-CA37-5BFB-A79FCB5DAC9C}"/>
          </ac:picMkLst>
        </pc:picChg>
        <pc:picChg chg="add mod">
          <ac:chgData name="Pawel STANISZEWSKI" userId="85a0c47f-b099-445b-9d4a-cf67b245ad3f" providerId="ADAL" clId="{9D403243-BAAD-4E02-AC5B-13D3113AD1E7}" dt="2025-07-14T06:39:29.083" v="497" actId="1076"/>
          <ac:picMkLst>
            <pc:docMk/>
            <pc:sldMk cId="151590352" sldId="2147482990"/>
            <ac:picMk id="10" creationId="{83D7DBDE-ECD3-E7E2-F21E-8D4C23708B79}"/>
          </ac:picMkLst>
        </pc:picChg>
      </pc:sldChg>
      <pc:sldChg chg="addSp delSp modSp add mod ord">
        <pc:chgData name="Pawel STANISZEWSKI" userId="85a0c47f-b099-445b-9d4a-cf67b245ad3f" providerId="ADAL" clId="{9D403243-BAAD-4E02-AC5B-13D3113AD1E7}" dt="2025-07-14T06:58:40.551" v="983" actId="208"/>
        <pc:sldMkLst>
          <pc:docMk/>
          <pc:sldMk cId="153286314" sldId="2147482991"/>
        </pc:sldMkLst>
        <pc:spChg chg="mod">
          <ac:chgData name="Pawel STANISZEWSKI" userId="85a0c47f-b099-445b-9d4a-cf67b245ad3f" providerId="ADAL" clId="{9D403243-BAAD-4E02-AC5B-13D3113AD1E7}" dt="2025-07-14T06:39:46.866" v="514" actId="20577"/>
          <ac:spMkLst>
            <pc:docMk/>
            <pc:sldMk cId="153286314" sldId="2147482991"/>
            <ac:spMk id="2" creationId="{13623D62-FC6A-23CA-5729-3433D8091A13}"/>
          </ac:spMkLst>
        </pc:spChg>
        <pc:spChg chg="add mod">
          <ac:chgData name="Pawel STANISZEWSKI" userId="85a0c47f-b099-445b-9d4a-cf67b245ad3f" providerId="ADAL" clId="{9D403243-BAAD-4E02-AC5B-13D3113AD1E7}" dt="2025-07-14T06:53:06.631" v="926" actId="20577"/>
          <ac:spMkLst>
            <pc:docMk/>
            <pc:sldMk cId="153286314" sldId="2147482991"/>
            <ac:spMk id="5" creationId="{528D61E0-F96C-FFDA-1713-4995270FC750}"/>
          </ac:spMkLst>
        </pc:spChg>
        <pc:spChg chg="add mod">
          <ac:chgData name="Pawel STANISZEWSKI" userId="85a0c47f-b099-445b-9d4a-cf67b245ad3f" providerId="ADAL" clId="{9D403243-BAAD-4E02-AC5B-13D3113AD1E7}" dt="2025-07-14T06:53:40.715" v="942" actId="115"/>
          <ac:spMkLst>
            <pc:docMk/>
            <pc:sldMk cId="153286314" sldId="2147482991"/>
            <ac:spMk id="6" creationId="{F7A1C8E7-F023-3121-4460-AA160EF2A861}"/>
          </ac:spMkLst>
        </pc:spChg>
        <pc:spChg chg="add mod">
          <ac:chgData name="Pawel STANISZEWSKI" userId="85a0c47f-b099-445b-9d4a-cf67b245ad3f" providerId="ADAL" clId="{9D403243-BAAD-4E02-AC5B-13D3113AD1E7}" dt="2025-07-14T06:56:44.275" v="960" actId="1076"/>
          <ac:spMkLst>
            <pc:docMk/>
            <pc:sldMk cId="153286314" sldId="2147482991"/>
            <ac:spMk id="7" creationId="{99A3F616-EC61-134D-3951-02D53B70DF1A}"/>
          </ac:spMkLst>
        </pc:spChg>
        <pc:spChg chg="add mod">
          <ac:chgData name="Pawel STANISZEWSKI" userId="85a0c47f-b099-445b-9d4a-cf67b245ad3f" providerId="ADAL" clId="{9D403243-BAAD-4E02-AC5B-13D3113AD1E7}" dt="2025-07-14T06:56:53.932" v="962" actId="1076"/>
          <ac:spMkLst>
            <pc:docMk/>
            <pc:sldMk cId="153286314" sldId="2147482991"/>
            <ac:spMk id="8" creationId="{9A86C621-4C6E-7CBE-077D-DF248E9642CF}"/>
          </ac:spMkLst>
        </pc:spChg>
        <pc:spChg chg="add mod">
          <ac:chgData name="Pawel STANISZEWSKI" userId="85a0c47f-b099-445b-9d4a-cf67b245ad3f" providerId="ADAL" clId="{9D403243-BAAD-4E02-AC5B-13D3113AD1E7}" dt="2025-07-14T06:58:40.551" v="983" actId="208"/>
          <ac:spMkLst>
            <pc:docMk/>
            <pc:sldMk cId="153286314" sldId="2147482991"/>
            <ac:spMk id="9" creationId="{D1A6531F-E1AD-270C-419F-850863618174}"/>
          </ac:spMkLst>
        </pc:spChg>
        <pc:spChg chg="add mod">
          <ac:chgData name="Pawel STANISZEWSKI" userId="85a0c47f-b099-445b-9d4a-cf67b245ad3f" providerId="ADAL" clId="{9D403243-BAAD-4E02-AC5B-13D3113AD1E7}" dt="2025-07-14T06:58:35.930" v="982" actId="208"/>
          <ac:spMkLst>
            <pc:docMk/>
            <pc:sldMk cId="153286314" sldId="2147482991"/>
            <ac:spMk id="11" creationId="{16B816C1-0949-CA22-1CFF-749CAF950C19}"/>
          </ac:spMkLst>
        </pc:spChg>
        <pc:picChg chg="add del">
          <ac:chgData name="Pawel STANISZEWSKI" userId="85a0c47f-b099-445b-9d4a-cf67b245ad3f" providerId="ADAL" clId="{9D403243-BAAD-4E02-AC5B-13D3113AD1E7}" dt="2025-07-14T06:41:22.375" v="517" actId="478"/>
          <ac:picMkLst>
            <pc:docMk/>
            <pc:sldMk cId="153286314" sldId="2147482991"/>
            <ac:picMk id="3" creationId="{B8B7D59B-55CB-A881-4F33-75416E8AE6F3}"/>
          </ac:picMkLst>
        </pc:picChg>
        <pc:picChg chg="add mod">
          <ac:chgData name="Pawel STANISZEWSKI" userId="85a0c47f-b099-445b-9d4a-cf67b245ad3f" providerId="ADAL" clId="{9D403243-BAAD-4E02-AC5B-13D3113AD1E7}" dt="2025-07-14T06:58:06.442" v="976" actId="1076"/>
          <ac:picMkLst>
            <pc:docMk/>
            <pc:sldMk cId="153286314" sldId="2147482991"/>
            <ac:picMk id="4" creationId="{A5ECFC42-5D27-D14B-A13C-24F557DC3544}"/>
          </ac:picMkLst>
        </pc:picChg>
        <pc:picChg chg="del">
          <ac:chgData name="Pawel STANISZEWSKI" userId="85a0c47f-b099-445b-9d4a-cf67b245ad3f" providerId="ADAL" clId="{9D403243-BAAD-4E02-AC5B-13D3113AD1E7}" dt="2025-07-14T06:39:56.818" v="515" actId="478"/>
          <ac:picMkLst>
            <pc:docMk/>
            <pc:sldMk cId="153286314" sldId="2147482991"/>
            <ac:picMk id="10" creationId="{83D7DBDE-ECD3-E7E2-F21E-8D4C23708B79}"/>
          </ac:picMkLst>
        </pc:picChg>
      </pc:sldChg>
      <pc:sldChg chg="addSp modSp new mod">
        <pc:chgData name="Pawel STANISZEWSKI" userId="85a0c47f-b099-445b-9d4a-cf67b245ad3f" providerId="ADAL" clId="{9D403243-BAAD-4E02-AC5B-13D3113AD1E7}" dt="2025-07-14T07:00:57.523" v="1075" actId="20577"/>
        <pc:sldMkLst>
          <pc:docMk/>
          <pc:sldMk cId="1200935281" sldId="2147482992"/>
        </pc:sldMkLst>
        <pc:spChg chg="mod">
          <ac:chgData name="Pawel STANISZEWSKI" userId="85a0c47f-b099-445b-9d4a-cf67b245ad3f" providerId="ADAL" clId="{9D403243-BAAD-4E02-AC5B-13D3113AD1E7}" dt="2025-07-14T07:00:57.523" v="1075" actId="20577"/>
          <ac:spMkLst>
            <pc:docMk/>
            <pc:sldMk cId="1200935281" sldId="2147482992"/>
            <ac:spMk id="2" creationId="{CF7187C2-3DA8-883E-1F69-4551B0157D12}"/>
          </ac:spMkLst>
        </pc:spChg>
        <pc:picChg chg="add">
          <ac:chgData name="Pawel STANISZEWSKI" userId="85a0c47f-b099-445b-9d4a-cf67b245ad3f" providerId="ADAL" clId="{9D403243-BAAD-4E02-AC5B-13D3113AD1E7}" dt="2025-07-14T06:43:56.658" v="521"/>
          <ac:picMkLst>
            <pc:docMk/>
            <pc:sldMk cId="1200935281" sldId="2147482992"/>
            <ac:picMk id="3" creationId="{0D858E6E-14F6-F64A-903F-525C495025CD}"/>
          </ac:picMkLst>
        </pc:picChg>
      </pc:sldChg>
      <pc:sldChg chg="addSp modSp new mod">
        <pc:chgData name="Pawel STANISZEWSKI" userId="85a0c47f-b099-445b-9d4a-cf67b245ad3f" providerId="ADAL" clId="{9D403243-BAAD-4E02-AC5B-13D3113AD1E7}" dt="2025-07-14T07:00:48.817" v="1062" actId="20577"/>
        <pc:sldMkLst>
          <pc:docMk/>
          <pc:sldMk cId="1997464583" sldId="2147482993"/>
        </pc:sldMkLst>
        <pc:spChg chg="mod">
          <ac:chgData name="Pawel STANISZEWSKI" userId="85a0c47f-b099-445b-9d4a-cf67b245ad3f" providerId="ADAL" clId="{9D403243-BAAD-4E02-AC5B-13D3113AD1E7}" dt="2025-07-14T07:00:48.817" v="1062" actId="20577"/>
          <ac:spMkLst>
            <pc:docMk/>
            <pc:sldMk cId="1997464583" sldId="2147482993"/>
            <ac:spMk id="2" creationId="{715EEF57-E499-A0F4-E396-842F4C7F87C8}"/>
          </ac:spMkLst>
        </pc:spChg>
        <pc:picChg chg="add">
          <ac:chgData name="Pawel STANISZEWSKI" userId="85a0c47f-b099-445b-9d4a-cf67b245ad3f" providerId="ADAL" clId="{9D403243-BAAD-4E02-AC5B-13D3113AD1E7}" dt="2025-07-14T06:44:48.714" v="523"/>
          <ac:picMkLst>
            <pc:docMk/>
            <pc:sldMk cId="1997464583" sldId="2147482993"/>
            <ac:picMk id="3" creationId="{1E5C3885-0FEE-AA6F-FF2C-A3A47653FEEF}"/>
          </ac:picMkLst>
        </pc:picChg>
      </pc:sldChg>
      <pc:sldChg chg="addSp modSp new mod">
        <pc:chgData name="Pawel STANISZEWSKI" userId="85a0c47f-b099-445b-9d4a-cf67b245ad3f" providerId="ADAL" clId="{9D403243-BAAD-4E02-AC5B-13D3113AD1E7}" dt="2025-07-14T07:08:59.189" v="1264" actId="1076"/>
        <pc:sldMkLst>
          <pc:docMk/>
          <pc:sldMk cId="3532777369" sldId="2147482994"/>
        </pc:sldMkLst>
        <pc:spChg chg="mod">
          <ac:chgData name="Pawel STANISZEWSKI" userId="85a0c47f-b099-445b-9d4a-cf67b245ad3f" providerId="ADAL" clId="{9D403243-BAAD-4E02-AC5B-13D3113AD1E7}" dt="2025-07-14T07:02:28.324" v="1126" actId="20577"/>
          <ac:spMkLst>
            <pc:docMk/>
            <pc:sldMk cId="3532777369" sldId="2147482994"/>
            <ac:spMk id="2" creationId="{90D9813E-7A9A-A41B-8892-97BC6532EAD3}"/>
          </ac:spMkLst>
        </pc:spChg>
        <pc:graphicFrameChg chg="add mod modGraphic">
          <ac:chgData name="Pawel STANISZEWSKI" userId="85a0c47f-b099-445b-9d4a-cf67b245ad3f" providerId="ADAL" clId="{9D403243-BAAD-4E02-AC5B-13D3113AD1E7}" dt="2025-07-14T07:08:59.189" v="1264" actId="1076"/>
          <ac:graphicFrameMkLst>
            <pc:docMk/>
            <pc:sldMk cId="3532777369" sldId="2147482994"/>
            <ac:graphicFrameMk id="3" creationId="{4938FA7F-4562-605D-1A15-B65C7CB9C7B5}"/>
          </ac:graphicFrameMkLst>
        </pc:graphicFrameChg>
      </pc:sldChg>
    </pc:docChg>
  </pc:docChgLst>
  <pc:docChgLst>
    <pc:chgData name="Pawel STANISZEWSKI" userId="S::stanipawe1@ferrero.com::85a0c47f-b099-445b-9d4a-cf67b245ad3f" providerId="AD" clId="Web-{6CEA3563-F947-E5BE-9AF5-0EB9D96D03DB}"/>
    <pc:docChg chg="modSld">
      <pc:chgData name="Pawel STANISZEWSKI" userId="S::stanipawe1@ferrero.com::85a0c47f-b099-445b-9d4a-cf67b245ad3f" providerId="AD" clId="Web-{6CEA3563-F947-E5BE-9AF5-0EB9D96D03DB}" dt="2025-04-07T09:29:09.637" v="650" actId="20577"/>
      <pc:docMkLst>
        <pc:docMk/>
      </pc:docMkLst>
      <pc:sldChg chg="addSp delSp modSp">
        <pc:chgData name="Pawel STANISZEWSKI" userId="S::stanipawe1@ferrero.com::85a0c47f-b099-445b-9d4a-cf67b245ad3f" providerId="AD" clId="Web-{6CEA3563-F947-E5BE-9AF5-0EB9D96D03DB}" dt="2025-04-07T09:29:09.637" v="650" actId="20577"/>
        <pc:sldMkLst>
          <pc:docMk/>
          <pc:sldMk cId="3403585077" sldId="2147482988"/>
        </pc:sldMkLst>
        <pc:spChg chg="mod">
          <ac:chgData name="Pawel STANISZEWSKI" userId="S::stanipawe1@ferrero.com::85a0c47f-b099-445b-9d4a-cf67b245ad3f" providerId="AD" clId="Web-{6CEA3563-F947-E5BE-9AF5-0EB9D96D03DB}" dt="2025-04-07T09:29:09.637" v="650" actId="20577"/>
          <ac:spMkLst>
            <pc:docMk/>
            <pc:sldMk cId="3403585077" sldId="2147482988"/>
            <ac:spMk id="2" creationId="{00000000-0000-0000-0000-000000000000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22:09.603" v="614" actId="20577"/>
          <ac:spMkLst>
            <pc:docMk/>
            <pc:sldMk cId="3403585077" sldId="2147482988"/>
            <ac:spMk id="12" creationId="{6959F6F5-DCE4-2DE3-0D85-61D2EE7D712B}"/>
          </ac:spMkLst>
        </pc:spChg>
        <pc:spChg chg="del">
          <ac:chgData name="Pawel STANISZEWSKI" userId="S::stanipawe1@ferrero.com::85a0c47f-b099-445b-9d4a-cf67b245ad3f" providerId="AD" clId="Web-{6CEA3563-F947-E5BE-9AF5-0EB9D96D03DB}" dt="2025-04-07T09:12:06.157" v="307"/>
          <ac:spMkLst>
            <pc:docMk/>
            <pc:sldMk cId="3403585077" sldId="2147482988"/>
            <ac:spMk id="14" creationId="{0836C4D8-4C58-520F-8FB5-95A4222C1201}"/>
          </ac:spMkLst>
        </pc:spChg>
        <pc:spChg chg="add del mod">
          <ac:chgData name="Pawel STANISZEWSKI" userId="S::stanipawe1@ferrero.com::85a0c47f-b099-445b-9d4a-cf67b245ad3f" providerId="AD" clId="Web-{6CEA3563-F947-E5BE-9AF5-0EB9D96D03DB}" dt="2025-04-07T09:05:32" v="108"/>
          <ac:spMkLst>
            <pc:docMk/>
            <pc:sldMk cId="3403585077" sldId="2147482988"/>
            <ac:spMk id="17" creationId="{58208C07-2AC5-4896-DD6E-B2069FCFDE2C}"/>
          </ac:spMkLst>
        </pc:spChg>
        <pc:spChg chg="add mod">
          <ac:chgData name="Pawel STANISZEWSKI" userId="S::stanipawe1@ferrero.com::85a0c47f-b099-445b-9d4a-cf67b245ad3f" providerId="AD" clId="Web-{6CEA3563-F947-E5BE-9AF5-0EB9D96D03DB}" dt="2025-04-07T09:08:26.804" v="173" actId="1076"/>
          <ac:spMkLst>
            <pc:docMk/>
            <pc:sldMk cId="3403585077" sldId="2147482988"/>
            <ac:spMk id="18" creationId="{B36FF9D5-430B-E6A9-DF5C-0E6EAAB3898A}"/>
          </ac:spMkLst>
        </pc:spChg>
        <pc:spChg chg="add mod">
          <ac:chgData name="Pawel STANISZEWSKI" userId="S::stanipawe1@ferrero.com::85a0c47f-b099-445b-9d4a-cf67b245ad3f" providerId="AD" clId="Web-{6CEA3563-F947-E5BE-9AF5-0EB9D96D03DB}" dt="2025-04-07T09:09:03.618" v="178" actId="20577"/>
          <ac:spMkLst>
            <pc:docMk/>
            <pc:sldMk cId="3403585077" sldId="2147482988"/>
            <ac:spMk id="19" creationId="{D44D11F9-26EE-FB65-3E5A-2E5FF32C3E15}"/>
          </ac:spMkLst>
        </pc:spChg>
        <pc:spChg chg="add mod">
          <ac:chgData name="Pawel STANISZEWSKI" userId="S::stanipawe1@ferrero.com::85a0c47f-b099-445b-9d4a-cf67b245ad3f" providerId="AD" clId="Web-{6CEA3563-F947-E5BE-9AF5-0EB9D96D03DB}" dt="2025-04-07T09:15:04.727" v="418" actId="20577"/>
          <ac:spMkLst>
            <pc:docMk/>
            <pc:sldMk cId="3403585077" sldId="2147482988"/>
            <ac:spMk id="20" creationId="{01B18B79-7102-D527-4E12-33659440D1CC}"/>
          </ac:spMkLst>
        </pc:spChg>
        <pc:spChg chg="add mod">
          <ac:chgData name="Pawel STANISZEWSKI" userId="S::stanipawe1@ferrero.com::85a0c47f-b099-445b-9d4a-cf67b245ad3f" providerId="AD" clId="Web-{6CEA3563-F947-E5BE-9AF5-0EB9D96D03DB}" dt="2025-04-07T09:20:56.194" v="597" actId="20577"/>
          <ac:spMkLst>
            <pc:docMk/>
            <pc:sldMk cId="3403585077" sldId="2147482988"/>
            <ac:spMk id="23" creationId="{507F7DF5-8FA7-C5C2-6A1A-C29D037F7A37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09:50.292" v="214" actId="20577"/>
          <ac:spMkLst>
            <pc:docMk/>
            <pc:sldMk cId="3403585077" sldId="2147482988"/>
            <ac:spMk id="36" creationId="{6F03F8C7-ADD6-4B32-ABA1-6B26C0A16B06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10:24.278" v="248" actId="20577"/>
          <ac:spMkLst>
            <pc:docMk/>
            <pc:sldMk cId="3403585077" sldId="2147482988"/>
            <ac:spMk id="37" creationId="{C6B1F20D-DEB3-4205-93DF-1460CC1B2280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10:59.686" v="286" actId="20577"/>
          <ac:spMkLst>
            <pc:docMk/>
            <pc:sldMk cId="3403585077" sldId="2147482988"/>
            <ac:spMk id="40" creationId="{378678FF-1D5A-4C55-8DD3-38D320D48707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03:22.355" v="64" actId="20577"/>
          <ac:spMkLst>
            <pc:docMk/>
            <pc:sldMk cId="3403585077" sldId="2147482988"/>
            <ac:spMk id="219" creationId="{1FBBB93C-E7C0-420F-9D9B-DA5437BC1D9A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08:12.601" v="170" actId="14100"/>
          <ac:spMkLst>
            <pc:docMk/>
            <pc:sldMk cId="3403585077" sldId="2147482988"/>
            <ac:spMk id="221" creationId="{9A6A1334-F60D-4218-B3BA-14EB4DE4A2E4}"/>
          </ac:spMkLst>
        </pc:spChg>
        <pc:spChg chg="mod">
          <ac:chgData name="Pawel STANISZEWSKI" userId="S::stanipawe1@ferrero.com::85a0c47f-b099-445b-9d4a-cf67b245ad3f" providerId="AD" clId="Web-{6CEA3563-F947-E5BE-9AF5-0EB9D96D03DB}" dt="2025-04-07T09:02:08.586" v="16" actId="20577"/>
          <ac:spMkLst>
            <pc:docMk/>
            <pc:sldMk cId="3403585077" sldId="2147482988"/>
            <ac:spMk id="223" creationId="{AA20BF72-0AB8-49C8-9AD5-07C4B84DAF9F}"/>
          </ac:spMkLst>
        </pc:spChg>
        <pc:spChg chg="del">
          <ac:chgData name="Pawel STANISZEWSKI" userId="S::stanipawe1@ferrero.com::85a0c47f-b099-445b-9d4a-cf67b245ad3f" providerId="AD" clId="Web-{6CEA3563-F947-E5BE-9AF5-0EB9D96D03DB}" dt="2025-04-07T09:08:20.835" v="172"/>
          <ac:spMkLst>
            <pc:docMk/>
            <pc:sldMk cId="3403585077" sldId="2147482988"/>
            <ac:spMk id="233" creationId="{3C09E39C-1B77-4F37-82BF-66C0E73B6A3F}"/>
          </ac:spMkLst>
        </pc:spChg>
        <pc:spChg chg="del">
          <ac:chgData name="Pawel STANISZEWSKI" userId="S::stanipawe1@ferrero.com::85a0c47f-b099-445b-9d4a-cf67b245ad3f" providerId="AD" clId="Web-{6CEA3563-F947-E5BE-9AF5-0EB9D96D03DB}" dt="2025-04-07T09:07:54.881" v="168"/>
          <ac:spMkLst>
            <pc:docMk/>
            <pc:sldMk cId="3403585077" sldId="2147482988"/>
            <ac:spMk id="236" creationId="{AE182FAF-B579-4A88-966B-A15936D6007C}"/>
          </ac:spMkLst>
        </pc:spChg>
        <pc:picChg chg="add del mod">
          <ac:chgData name="Pawel STANISZEWSKI" userId="S::stanipawe1@ferrero.com::85a0c47f-b099-445b-9d4a-cf67b245ad3f" providerId="AD" clId="Web-{6CEA3563-F947-E5BE-9AF5-0EB9D96D03DB}" dt="2025-04-07T09:15:19.290" v="420"/>
          <ac:picMkLst>
            <pc:docMk/>
            <pc:sldMk cId="3403585077" sldId="2147482988"/>
            <ac:picMk id="21" creationId="{336B0015-AAB4-3084-4BC7-EFECDA128C16}"/>
          </ac:picMkLst>
        </pc:picChg>
        <pc:cxnChg chg="add mod">
          <ac:chgData name="Pawel STANISZEWSKI" userId="S::stanipawe1@ferrero.com::85a0c47f-b099-445b-9d4a-cf67b245ad3f" providerId="AD" clId="Web-{6CEA3563-F947-E5BE-9AF5-0EB9D96D03DB}" dt="2025-04-07T09:17:02.013" v="430" actId="14100"/>
          <ac:cxnSpMkLst>
            <pc:docMk/>
            <pc:sldMk cId="3403585077" sldId="2147482988"/>
            <ac:cxnSpMk id="22" creationId="{0D3DDF87-4979-87FB-57AA-2280708BD841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C5A3FB-CF2D-40F6-837D-58E529A2EE62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56EF54-6803-4862-A83E-757982476D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577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Maszyny do automatycznego zasilania </a:t>
            </a:r>
            <a:r>
              <a:rPr lang="pl-PL" dirty="0" err="1"/>
              <a:t>sa</a:t>
            </a:r>
            <a:r>
              <a:rPr lang="pl-PL" dirty="0"/>
              <a:t> zamówione w </a:t>
            </a:r>
            <a:r>
              <a:rPr lang="pl-PL" dirty="0" err="1"/>
              <a:t>Cravanzoli</a:t>
            </a:r>
            <a:r>
              <a:rPr lang="pl-PL" dirty="0"/>
              <a:t> – montaże od 09.12 </a:t>
            </a:r>
          </a:p>
          <a:p>
            <a:r>
              <a:rPr lang="pl-PL" dirty="0"/>
              <a:t>Maszyny </a:t>
            </a:r>
            <a:r>
              <a:rPr lang="pl-PL" dirty="0" err="1"/>
              <a:t>zamłówione</a:t>
            </a:r>
            <a:r>
              <a:rPr lang="pl-PL" dirty="0"/>
              <a:t> </a:t>
            </a:r>
          </a:p>
          <a:p>
            <a:endParaRPr lang="pl-PL" dirty="0"/>
          </a:p>
          <a:p>
            <a:r>
              <a:rPr lang="pl-PL" dirty="0" err="1"/>
              <a:t>Montaze</a:t>
            </a:r>
            <a:r>
              <a:rPr lang="pl-PL" dirty="0"/>
              <a:t> w </a:t>
            </a:r>
            <a:r>
              <a:rPr lang="pl-PL" dirty="0" err="1"/>
              <a:t>ptrzerwie</a:t>
            </a:r>
            <a:r>
              <a:rPr lang="pl-PL" dirty="0"/>
              <a:t> </a:t>
            </a:r>
            <a:r>
              <a:rPr lang="pl-PL" dirty="0" err="1"/>
              <a:t>swiatecznej</a:t>
            </a:r>
            <a:r>
              <a:rPr lang="pl-PL" dirty="0"/>
              <a:t> </a:t>
            </a:r>
          </a:p>
          <a:p>
            <a:endParaRPr lang="pl-PL" dirty="0"/>
          </a:p>
          <a:p>
            <a:r>
              <a:rPr lang="pl-PL" dirty="0"/>
              <a:t>Dodatkowe pytanie o zakup form – testy nowego materiału form w </a:t>
            </a:r>
            <a:r>
              <a:rPr lang="pl-PL" dirty="0" err="1"/>
              <a:t>paźdznierniku</a:t>
            </a:r>
            <a:r>
              <a:rPr lang="pl-PL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E0175F-75E1-4E7B-93DE-221F78AA11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8073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1 3"/>
          <p:cNvCxnSpPr/>
          <p:nvPr userDrawn="1"/>
        </p:nvCxnSpPr>
        <p:spPr>
          <a:xfrm>
            <a:off x="381002" y="857232"/>
            <a:ext cx="1133475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ttore 1 4"/>
          <p:cNvCxnSpPr/>
          <p:nvPr userDrawn="1"/>
        </p:nvCxnSpPr>
        <p:spPr>
          <a:xfrm>
            <a:off x="381002" y="6429375"/>
            <a:ext cx="1133475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6477000"/>
            <a:ext cx="20320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85709" y="142855"/>
            <a:ext cx="10363200" cy="898521"/>
          </a:xfrm>
        </p:spPr>
        <p:txBody>
          <a:bodyPr anchor="t">
            <a:normAutofit/>
          </a:bodyPr>
          <a:lstStyle>
            <a:lvl1pPr algn="l">
              <a:defRPr sz="2800" b="1"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2AAFDC-17B5-4CB6-957F-DF002FE93909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345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1 3"/>
          <p:cNvCxnSpPr/>
          <p:nvPr userDrawn="1"/>
        </p:nvCxnSpPr>
        <p:spPr>
          <a:xfrm>
            <a:off x="381002" y="857232"/>
            <a:ext cx="1133475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85709" y="142855"/>
            <a:ext cx="10363200" cy="898521"/>
          </a:xfrm>
        </p:spPr>
        <p:txBody>
          <a:bodyPr anchor="t">
            <a:normAutofit/>
          </a:bodyPr>
          <a:lstStyle>
            <a:lvl1pPr algn="l">
              <a:defRPr sz="2800" b="1"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2AAFDC-17B5-4CB6-957F-DF002FE93909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93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68B97-F866-4E7B-A899-A401213AFA11}" type="datetimeFigureOut">
              <a:rPr lang="it-IT" smtClean="0"/>
              <a:t>14/07/2025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2302AC-1FDE-490C-AD73-1D4D1A3B9CD3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9030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95729" y="6533912"/>
            <a:ext cx="10607040" cy="9144"/>
          </a:xfrm>
          <a:prstGeom prst="rect">
            <a:avLst/>
          </a:prstGeom>
          <a:solidFill>
            <a:srgbClr val="552C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14332" y="743200"/>
            <a:ext cx="11563337" cy="9144"/>
          </a:xfrm>
          <a:prstGeom prst="rect">
            <a:avLst/>
          </a:prstGeom>
          <a:solidFill>
            <a:srgbClr val="552C2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561046" y="6326128"/>
            <a:ext cx="52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b="1" kern="1200">
                <a:solidFill>
                  <a:srgbClr val="572D2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7A9E4-524D-4E7D-BEA0-68824C658921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572D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72D2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156" y="6293489"/>
            <a:ext cx="881654" cy="538927"/>
          </a:xfrm>
          <a:prstGeom prst="rect">
            <a:avLst/>
          </a:prstGeom>
        </p:spPr>
      </p:pic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328612" y="68741"/>
            <a:ext cx="10074845" cy="61309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defRPr lang="it-IT" sz="2400" b="1">
                <a:solidFill>
                  <a:srgbClr val="5D332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/>
            <a:r>
              <a:rPr lang="en-US" dirty="0"/>
              <a:t>Click to edit Master title style</a:t>
            </a:r>
            <a:endParaRPr lang="it-IT" dirty="0"/>
          </a:p>
        </p:txBody>
      </p:sp>
      <p:pic>
        <p:nvPicPr>
          <p:cNvPr id="9" name="Obraz 48">
            <a:extLst>
              <a:ext uri="{FF2B5EF4-FFF2-40B4-BE49-F238E27FC236}">
                <a16:creationId xmlns:a16="http://schemas.microsoft.com/office/drawing/2014/main" id="{1855A963-7AAE-40E6-B8E8-92473AEA03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13138" y="103997"/>
            <a:ext cx="864531" cy="535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675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3905448"/>
            <a:ext cx="12192000" cy="160586"/>
          </a:xfrm>
          <a:prstGeom prst="rect">
            <a:avLst/>
          </a:prstGeom>
          <a:solidFill>
            <a:srgbClr val="5D33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731520"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38225"/>
            <a:ext cx="12192000" cy="1179591"/>
          </a:xfrm>
          <a:prstGeom prst="rect">
            <a:avLst/>
          </a:prstGeom>
          <a:solidFill>
            <a:srgbClr val="FDA30C"/>
          </a:solidFill>
        </p:spPr>
        <p:txBody>
          <a:bodyPr vert="horz" lIns="91440" tIns="182880" rIns="457200" bIns="0" rtlCol="0" anchor="t">
            <a:normAutofit/>
          </a:bodyPr>
          <a:lstStyle>
            <a:lvl1pPr marL="0" indent="0" algn="r">
              <a:lnSpc>
                <a:spcPts val="3400"/>
              </a:lnSpc>
              <a:spcBef>
                <a:spcPts val="0"/>
              </a:spcBef>
              <a:buNone/>
              <a:defRPr lang="en-US" sz="4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 of the Document</a:t>
            </a:r>
          </a:p>
          <a:p>
            <a:r>
              <a:rPr lang="en-US" sz="2600" dirty="0"/>
              <a:t>Sub-Title of the Document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ABF39DB5-EBC9-4E12-9AC7-BCD703AAF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50"/>
          <a:stretch/>
        </p:blipFill>
        <p:spPr>
          <a:xfrm>
            <a:off x="369064" y="531188"/>
            <a:ext cx="2167761" cy="1160884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2686083" y="596216"/>
            <a:ext cx="45719" cy="1280160"/>
          </a:xfrm>
          <a:prstGeom prst="rect">
            <a:avLst/>
          </a:prstGeom>
          <a:solidFill>
            <a:srgbClr val="E1B7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it-IT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 userDrawn="1"/>
        </p:nvSpPr>
        <p:spPr>
          <a:xfrm>
            <a:off x="0" y="4066034"/>
            <a:ext cx="12192000" cy="72192"/>
          </a:xfrm>
          <a:prstGeom prst="rect">
            <a:avLst/>
          </a:prstGeom>
          <a:solidFill>
            <a:srgbClr val="E1B7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731520"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872740" y="1623060"/>
            <a:ext cx="716280" cy="129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15" y="1701338"/>
            <a:ext cx="1184657" cy="153634"/>
          </a:xfrm>
          <a:prstGeom prst="rect">
            <a:avLst/>
          </a:prstGeom>
        </p:spPr>
      </p:pic>
      <p:sp>
        <p:nvSpPr>
          <p:cNvPr id="2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777162" y="6366190"/>
            <a:ext cx="8414837" cy="441960"/>
          </a:xfrm>
          <a:prstGeom prst="rect">
            <a:avLst/>
          </a:prstGeom>
        </p:spPr>
        <p:txBody>
          <a:bodyPr rIns="457200" anchor="b">
            <a:normAutofit/>
          </a:bodyPr>
          <a:lstStyle>
            <a:lvl1pPr marL="0" indent="0" algn="r">
              <a:buNone/>
              <a:defRPr sz="1800" i="1" baseline="0">
                <a:solidFill>
                  <a:srgbClr val="5D332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Location, Date of the meeting</a:t>
            </a:r>
          </a:p>
        </p:txBody>
      </p:sp>
    </p:spTree>
    <p:extLst>
      <p:ext uri="{BB962C8B-B14F-4D97-AF65-F5344CB8AC3E}">
        <p14:creationId xmlns:p14="http://schemas.microsoft.com/office/powerpoint/2010/main" val="2466612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056">
          <p15:clr>
            <a:srgbClr val="FBAE40"/>
          </p15:clr>
        </p15:guide>
        <p15:guide id="4" orient="horz" pos="3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A4CD4F3-73C3-4810-B5FA-A319E407F138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c" descr="This document must be disclosed only to authorized individuals. Any reproduction and/or disclosure must be subject to information Owner prior consent."/>
          <p:cNvSpPr txBox="1"/>
          <p:nvPr userDrawn="1"/>
        </p:nvSpPr>
        <p:spPr>
          <a:xfrm>
            <a:off x="0" y="6515100"/>
            <a:ext cx="12192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0" i="1" u="none" baseline="0">
                <a:solidFill>
                  <a:srgbClr val="000000"/>
                </a:solidFill>
                <a:latin typeface="Arial" panose="020B0604020202020204" pitchFamily="34" charset="0"/>
              </a:rPr>
              <a:t>This document must be disclosed only to authorized individuals. Any reproduction and/or disclosure must be subject to information Owner prior consent.</a:t>
            </a:r>
          </a:p>
        </p:txBody>
      </p:sp>
    </p:spTree>
    <p:extLst>
      <p:ext uri="{BB962C8B-B14F-4D97-AF65-F5344CB8AC3E}">
        <p14:creationId xmlns:p14="http://schemas.microsoft.com/office/powerpoint/2010/main" val="108856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4129599"/>
            <a:ext cx="12192000" cy="1179591"/>
          </a:xfrm>
        </p:spPr>
        <p:txBody>
          <a:bodyPr/>
          <a:lstStyle/>
          <a:p>
            <a:r>
              <a:rPr lang="pl-PL" dirty="0"/>
              <a:t>Współczynniki OAE i OE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777163" y="6062324"/>
            <a:ext cx="8414837" cy="441960"/>
          </a:xfrm>
        </p:spPr>
        <p:txBody>
          <a:bodyPr/>
          <a:lstStyle/>
          <a:p>
            <a:r>
              <a:rPr lang="pl-PL" dirty="0">
                <a:solidFill>
                  <a:srgbClr val="572D25"/>
                </a:solidFill>
              </a:rPr>
              <a:t>Belsk Duży</a:t>
            </a:r>
            <a:r>
              <a:rPr lang="en-US" dirty="0">
                <a:solidFill>
                  <a:srgbClr val="572D25"/>
                </a:solidFill>
              </a:rPr>
              <a:t>, </a:t>
            </a:r>
            <a:r>
              <a:rPr lang="pl-PL" dirty="0">
                <a:solidFill>
                  <a:srgbClr val="572D25"/>
                </a:solidFill>
              </a:rPr>
              <a:t>Lipiec 2025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912027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728F548-8371-47AB-97A1-3028BCC56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728F548-8371-47AB-97A1-3028BCC56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BE33E9-8528-474B-803E-0176496B363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ytuł 16">
            <a:extLst>
              <a:ext uri="{FF2B5EF4-FFF2-40B4-BE49-F238E27FC236}">
                <a16:creationId xmlns:a16="http://schemas.microsoft.com/office/drawing/2014/main" id="{4008CFBB-65DF-B8AA-CF5A-3C5A7C5C1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AE/OEE definicje</a:t>
            </a:r>
          </a:p>
        </p:txBody>
      </p:sp>
      <p:graphicFrame>
        <p:nvGraphicFramePr>
          <p:cNvPr id="21" name="Table 3">
            <a:extLst>
              <a:ext uri="{FF2B5EF4-FFF2-40B4-BE49-F238E27FC236}">
                <a16:creationId xmlns:a16="http://schemas.microsoft.com/office/drawing/2014/main" id="{6DA358B4-6AA2-569A-A78A-BDFB2C7A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661674"/>
              </p:ext>
            </p:extLst>
          </p:nvPr>
        </p:nvGraphicFramePr>
        <p:xfrm>
          <a:off x="234090" y="1090206"/>
          <a:ext cx="10608944" cy="2338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4387">
                  <a:extLst>
                    <a:ext uri="{9D8B030D-6E8A-4147-A177-3AD203B41FA5}">
                      <a16:colId xmlns:a16="http://schemas.microsoft.com/office/drawing/2014/main" val="190161290"/>
                    </a:ext>
                  </a:extLst>
                </a:gridCol>
                <a:gridCol w="201144">
                  <a:extLst>
                    <a:ext uri="{9D8B030D-6E8A-4147-A177-3AD203B41FA5}">
                      <a16:colId xmlns:a16="http://schemas.microsoft.com/office/drawing/2014/main" val="1024566845"/>
                    </a:ext>
                  </a:extLst>
                </a:gridCol>
                <a:gridCol w="9373413">
                  <a:extLst>
                    <a:ext uri="{9D8B030D-6E8A-4147-A177-3AD203B41FA5}">
                      <a16:colId xmlns:a16="http://schemas.microsoft.com/office/drawing/2014/main" val="1664599828"/>
                    </a:ext>
                  </a:extLst>
                </a:gridCol>
              </a:tblGrid>
              <a:tr h="601434"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872" marR="87872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872" marR="87872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A30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7628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33"/>
                        </a:spcAft>
                        <a:buClr>
                          <a:prstClr val="black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l-PL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skaźnik </a:t>
                      </a:r>
                      <a:r>
                        <a:rPr lang="pl-PL" sz="18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EP</a:t>
                      </a:r>
                      <a:r>
                        <a:rPr lang="pl-PL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ang. Total </a:t>
                      </a:r>
                      <a:r>
                        <a:rPr lang="pl-PL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ive</a:t>
                      </a:r>
                      <a:r>
                        <a:rPr lang="pl-PL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ment</a:t>
                      </a:r>
                      <a:r>
                        <a:rPr lang="pl-PL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formance) oznacza </a:t>
                      </a:r>
                      <a:r>
                        <a:rPr lang="pl-PL" sz="18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łkowitą wydajność sprzętu</a:t>
                      </a:r>
                      <a:r>
                        <a:rPr lang="pl-PL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TEEP określa jako stratę wszystko, co nie jest efektywną pracą.</a:t>
                      </a: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872" marR="87872" marT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8618679"/>
                  </a:ext>
                </a:extLst>
              </a:tr>
              <a:tr h="254727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872" marR="87872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872" marR="87872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A30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7628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33"/>
                        </a:spcAft>
                        <a:buClr>
                          <a:prstClr val="black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skaźnik</a:t>
                      </a:r>
                      <a:r>
                        <a:rPr lang="pl-PL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AE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(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ll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t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iveness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czyli </a:t>
                      </a:r>
                      <a:r>
                        <a:rPr lang="pl-PL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ólna efektywność zasobów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wskaźnik wydajności mierzący efektywność wykorzystania zasobów w procesie produkcyjnym, podobny do całkowitej efektywności wyposażenia (OEE), ale o szerszym zakresie.</a:t>
                      </a: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872" marR="87872" marT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0506372"/>
                  </a:ext>
                </a:extLst>
              </a:tr>
              <a:tr h="254727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872" marR="87872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872" marR="87872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A30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7628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33"/>
                        </a:spcAft>
                        <a:buClr>
                          <a:prstClr val="black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skaźnik</a:t>
                      </a:r>
                      <a:r>
                        <a:rPr lang="pl-PL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EE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(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ll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ment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iveness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czyli </a:t>
                      </a:r>
                      <a:r>
                        <a:rPr lang="pl-PL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ólna efektywność maszyn wykorzystywanych w produkcji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Jest to </a:t>
                      </a:r>
                      <a:r>
                        <a:rPr lang="pl-PL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ólno</a:t>
                      </a:r>
                      <a:r>
                        <a:rPr lang="pl-PL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zyjęty standard mierzenia wydajności procesu produkcyjnego w przedsiębiorstwie.</a:t>
                      </a: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872" marR="87872" marT="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524285"/>
                  </a:ext>
                </a:extLst>
              </a:tr>
            </a:tbl>
          </a:graphicData>
        </a:graphic>
      </p:graphicFrame>
      <p:graphicFrame>
        <p:nvGraphicFramePr>
          <p:cNvPr id="33" name="Tabela 32">
            <a:extLst>
              <a:ext uri="{FF2B5EF4-FFF2-40B4-BE49-F238E27FC236}">
                <a16:creationId xmlns:a16="http://schemas.microsoft.com/office/drawing/2014/main" id="{95950EB0-8022-C7C5-0606-4034F0F5E7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9164353"/>
              </p:ext>
            </p:extLst>
          </p:nvPr>
        </p:nvGraphicFramePr>
        <p:xfrm>
          <a:off x="1300671" y="3474386"/>
          <a:ext cx="9590658" cy="27482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795329">
                  <a:extLst>
                    <a:ext uri="{9D8B030D-6E8A-4147-A177-3AD203B41FA5}">
                      <a16:colId xmlns:a16="http://schemas.microsoft.com/office/drawing/2014/main" val="260969302"/>
                    </a:ext>
                  </a:extLst>
                </a:gridCol>
                <a:gridCol w="4795329">
                  <a:extLst>
                    <a:ext uri="{9D8B030D-6E8A-4147-A177-3AD203B41FA5}">
                      <a16:colId xmlns:a16="http://schemas.microsoft.com/office/drawing/2014/main" val="27446047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2000" dirty="0"/>
                        <a:t>O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2000" dirty="0"/>
                        <a:t>OA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6057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Mierzy wydajność na podstawie dostępnego czasu pracy sprzętu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Mierzy wydajność na podstawie maksymalnej wydajności sprzętu lub teoretycznej maksymalnej wydajności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6099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Jesteśmy w stanie określić planowany czas pracy sprzętu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Nie jesteśmy w stanie określić planowanego czasu pracy sprzętu ani procesu, jest on obliczany na podstawie wydajności sprzętu lub procesu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102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W planie poprawy OEE analizujemy straty na poziomie kontroli organizacyjnej wewnętrznej (nieplanowane)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W planie poprawy OAE analizujemy straty zarówno na poziomie kontroli organizacyjnej wewnętrznej jak i zewnętrznej </a:t>
                      </a:r>
                      <a:r>
                        <a:rPr lang="pl-PL" sz="1400"/>
                        <a:t>(nieplanowane i planowane).</a:t>
                      </a:r>
                      <a:endParaRPr lang="pl-PL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0433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Metodę OEE wynalazł </a:t>
                      </a:r>
                      <a:r>
                        <a:rPr lang="pl-PL" sz="1400" dirty="0" err="1"/>
                        <a:t>Seiichi</a:t>
                      </a:r>
                      <a:r>
                        <a:rPr lang="pl-PL" sz="1400" dirty="0"/>
                        <a:t> </a:t>
                      </a:r>
                      <a:r>
                        <a:rPr lang="pl-PL" sz="1400" dirty="0" err="1"/>
                        <a:t>Nakajima</a:t>
                      </a:r>
                      <a:r>
                        <a:rPr lang="pl-PL" sz="1400" dirty="0"/>
                        <a:t> w 1960 roku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OAE opracowano na podstawie parametrów OE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627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35850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3623D62-FC6A-23CA-5729-3433D8091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AE/OEE definicje</a:t>
            </a: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31C451E6-CCBE-CA37-5BFB-A79FCB5DA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4332" y="807324"/>
            <a:ext cx="8246045" cy="3625438"/>
          </a:xfrm>
          <a:prstGeom prst="rect">
            <a:avLst/>
          </a:prstGeom>
        </p:spPr>
      </p:pic>
      <p:sp>
        <p:nvSpPr>
          <p:cNvPr id="4" name="Nawias klamrowy zamykający 3">
            <a:extLst>
              <a:ext uri="{FF2B5EF4-FFF2-40B4-BE49-F238E27FC236}">
                <a16:creationId xmlns:a16="http://schemas.microsoft.com/office/drawing/2014/main" id="{63F1B060-F84C-B772-90DB-8E817B5E7923}"/>
              </a:ext>
            </a:extLst>
          </p:cNvPr>
          <p:cNvSpPr/>
          <p:nvPr/>
        </p:nvSpPr>
        <p:spPr>
          <a:xfrm rot="5400000">
            <a:off x="5640804" y="1772592"/>
            <a:ext cx="313097" cy="7938505"/>
          </a:xfrm>
          <a:prstGeom prst="rightBrace">
            <a:avLst/>
          </a:prstGeom>
          <a:ln w="57150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5" name="Nawias klamrowy zamykający 4">
            <a:extLst>
              <a:ext uri="{FF2B5EF4-FFF2-40B4-BE49-F238E27FC236}">
                <a16:creationId xmlns:a16="http://schemas.microsoft.com/office/drawing/2014/main" id="{2BB84EF8-D1A2-68C6-D697-203B140AF085}"/>
              </a:ext>
            </a:extLst>
          </p:cNvPr>
          <p:cNvSpPr/>
          <p:nvPr/>
        </p:nvSpPr>
        <p:spPr>
          <a:xfrm rot="5400000">
            <a:off x="4919486" y="1922558"/>
            <a:ext cx="313095" cy="6566907"/>
          </a:xfrm>
          <a:prstGeom prst="rightBrace">
            <a:avLst/>
          </a:prstGeom>
          <a:ln w="57150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Nawias klamrowy zamykający 5">
            <a:extLst>
              <a:ext uri="{FF2B5EF4-FFF2-40B4-BE49-F238E27FC236}">
                <a16:creationId xmlns:a16="http://schemas.microsoft.com/office/drawing/2014/main" id="{B556AD82-AE9C-32C7-58C0-4709B0DD90C2}"/>
              </a:ext>
            </a:extLst>
          </p:cNvPr>
          <p:cNvSpPr/>
          <p:nvPr/>
        </p:nvSpPr>
        <p:spPr>
          <a:xfrm rot="5400000">
            <a:off x="4173214" y="2110818"/>
            <a:ext cx="313094" cy="5074362"/>
          </a:xfrm>
          <a:prstGeom prst="rightBrace">
            <a:avLst/>
          </a:prstGeom>
          <a:ln w="57150"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2B643F3-D40E-693A-EE91-88A73B975E25}"/>
              </a:ext>
            </a:extLst>
          </p:cNvPr>
          <p:cNvSpPr txBox="1"/>
          <p:nvPr/>
        </p:nvSpPr>
        <p:spPr>
          <a:xfrm>
            <a:off x="5345947" y="5836381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>
                <a:solidFill>
                  <a:schemeClr val="accent6">
                    <a:lumMod val="50000"/>
                  </a:schemeClr>
                </a:solidFill>
              </a:rPr>
              <a:t>TEEP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84B7F3B3-E9BF-7302-0B57-FF7682C26CF6}"/>
              </a:ext>
            </a:extLst>
          </p:cNvPr>
          <p:cNvSpPr txBox="1"/>
          <p:nvPr/>
        </p:nvSpPr>
        <p:spPr>
          <a:xfrm>
            <a:off x="4668775" y="5254471"/>
            <a:ext cx="8145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>
                <a:solidFill>
                  <a:schemeClr val="accent6">
                    <a:lumMod val="50000"/>
                  </a:schemeClr>
                </a:solidFill>
              </a:rPr>
              <a:t>OAE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65FDF541-8686-AEAD-AEB5-4D44BC51E409}"/>
              </a:ext>
            </a:extLst>
          </p:cNvPr>
          <p:cNvSpPr txBox="1"/>
          <p:nvPr/>
        </p:nvSpPr>
        <p:spPr>
          <a:xfrm>
            <a:off x="3926932" y="4712472"/>
            <a:ext cx="776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>
                <a:solidFill>
                  <a:schemeClr val="accent6">
                    <a:lumMod val="50000"/>
                  </a:schemeClr>
                </a:solidFill>
              </a:rPr>
              <a:t>OEE</a:t>
            </a:r>
          </a:p>
        </p:txBody>
      </p:sp>
    </p:spTree>
    <p:extLst>
      <p:ext uri="{BB962C8B-B14F-4D97-AF65-F5344CB8AC3E}">
        <p14:creationId xmlns:p14="http://schemas.microsoft.com/office/powerpoint/2010/main" val="1474399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3623D62-FC6A-23CA-5729-3433D8091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AE w praktyce (na przykładzie linii RAFF)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83D7DBDE-ECD3-E7E2-F21E-8D4C23708B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27982"/>
            <a:ext cx="12192000" cy="3311257"/>
          </a:xfrm>
          <a:prstGeom prst="rect">
            <a:avLst/>
          </a:prstGeom>
        </p:spPr>
      </p:pic>
      <p:sp>
        <p:nvSpPr>
          <p:cNvPr id="11" name="pole tekstowe 10">
            <a:extLst>
              <a:ext uri="{FF2B5EF4-FFF2-40B4-BE49-F238E27FC236}">
                <a16:creationId xmlns:a16="http://schemas.microsoft.com/office/drawing/2014/main" id="{33D0ECF4-325C-5972-FEA6-8A0C9E4A641F}"/>
              </a:ext>
            </a:extLst>
          </p:cNvPr>
          <p:cNvSpPr txBox="1"/>
          <p:nvPr/>
        </p:nvSpPr>
        <p:spPr>
          <a:xfrm>
            <a:off x="722926" y="4530630"/>
            <a:ext cx="107461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>
                <a:solidFill>
                  <a:schemeClr val="accent6">
                    <a:lumMod val="50000"/>
                  </a:schemeClr>
                </a:solidFill>
              </a:rPr>
              <a:t>OAE = (Całkowity realny czas efektywnej produkcji / Całkowity czas produkcji )*100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594800BF-B0C8-41F9-6688-7915935ACE1D}"/>
              </a:ext>
            </a:extLst>
          </p:cNvPr>
          <p:cNvSpPr txBox="1"/>
          <p:nvPr/>
        </p:nvSpPr>
        <p:spPr>
          <a:xfrm>
            <a:off x="447541" y="5283687"/>
            <a:ext cx="11296918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l-PL" dirty="0"/>
              <a:t>Współczynnik OAE to stosunek </a:t>
            </a:r>
            <a:r>
              <a:rPr lang="pl-PL" u="sng" dirty="0"/>
              <a:t>całkowitego realnego czasu efektywnej produkcji </a:t>
            </a:r>
            <a:r>
              <a:rPr lang="pl-PL" dirty="0"/>
              <a:t>(przy pełnej wydajności i nad dobrym produktem) do </a:t>
            </a:r>
            <a:r>
              <a:rPr lang="pl-PL" u="sng" dirty="0"/>
              <a:t>całkowitego czasu produkcji z ujęciem planowanych i nieplanowanych przerw </a:t>
            </a:r>
            <a:r>
              <a:rPr lang="pl-PL" dirty="0"/>
              <a:t>wyrażony w procentach.</a:t>
            </a:r>
          </a:p>
        </p:txBody>
      </p:sp>
      <p:sp>
        <p:nvSpPr>
          <p:cNvPr id="13" name="Freeform 514">
            <a:extLst>
              <a:ext uri="{FF2B5EF4-FFF2-40B4-BE49-F238E27FC236}">
                <a16:creationId xmlns:a16="http://schemas.microsoft.com/office/drawing/2014/main" id="{50AE0916-7D8A-17FD-5D7C-72E08F4C09CD}"/>
              </a:ext>
            </a:extLst>
          </p:cNvPr>
          <p:cNvSpPr>
            <a:spLocks noEditPoints="1"/>
          </p:cNvSpPr>
          <p:nvPr/>
        </p:nvSpPr>
        <p:spPr bwMode="auto">
          <a:xfrm>
            <a:off x="1225783" y="3243550"/>
            <a:ext cx="846116" cy="350807"/>
          </a:xfrm>
          <a:custGeom>
            <a:avLst/>
            <a:gdLst>
              <a:gd name="T0" fmla="*/ 124 w 458"/>
              <a:gd name="T1" fmla="*/ 13 h 288"/>
              <a:gd name="T2" fmla="*/ 343 w 458"/>
              <a:gd name="T3" fmla="*/ 240 h 288"/>
              <a:gd name="T4" fmla="*/ 292 w 458"/>
              <a:gd name="T5" fmla="*/ 271 h 288"/>
              <a:gd name="T6" fmla="*/ 291 w 458"/>
              <a:gd name="T7" fmla="*/ 260 h 288"/>
              <a:gd name="T8" fmla="*/ 141 w 458"/>
              <a:gd name="T9" fmla="*/ 12 h 288"/>
              <a:gd name="T10" fmla="*/ 85 w 458"/>
              <a:gd name="T11" fmla="*/ 70 h 288"/>
              <a:gd name="T12" fmla="*/ 6 w 458"/>
              <a:gd name="T13" fmla="*/ 224 h 288"/>
              <a:gd name="T14" fmla="*/ 71 w 458"/>
              <a:gd name="T15" fmla="*/ 273 h 288"/>
              <a:gd name="T16" fmla="*/ 191 w 458"/>
              <a:gd name="T17" fmla="*/ 286 h 288"/>
              <a:gd name="T18" fmla="*/ 292 w 458"/>
              <a:gd name="T19" fmla="*/ 271 h 288"/>
              <a:gd name="T20" fmla="*/ 415 w 458"/>
              <a:gd name="T21" fmla="*/ 222 h 288"/>
              <a:gd name="T22" fmla="*/ 450 w 458"/>
              <a:gd name="T23" fmla="*/ 120 h 288"/>
              <a:gd name="T24" fmla="*/ 307 w 458"/>
              <a:gd name="T25" fmla="*/ 12 h 288"/>
              <a:gd name="T26" fmla="*/ 145 w 458"/>
              <a:gd name="T27" fmla="*/ 7 h 288"/>
              <a:gd name="T28" fmla="*/ 141 w 458"/>
              <a:gd name="T29" fmla="*/ 11 h 288"/>
              <a:gd name="T30" fmla="*/ 134 w 458"/>
              <a:gd name="T31" fmla="*/ 13 h 288"/>
              <a:gd name="T32" fmla="*/ 223 w 458"/>
              <a:gd name="T33" fmla="*/ 2 h 288"/>
              <a:gd name="T34" fmla="*/ 349 w 458"/>
              <a:gd name="T35" fmla="*/ 36 h 288"/>
              <a:gd name="T36" fmla="*/ 424 w 458"/>
              <a:gd name="T37" fmla="*/ 98 h 288"/>
              <a:gd name="T38" fmla="*/ 430 w 458"/>
              <a:gd name="T39" fmla="*/ 104 h 288"/>
              <a:gd name="T40" fmla="*/ 436 w 458"/>
              <a:gd name="T41" fmla="*/ 174 h 288"/>
              <a:gd name="T42" fmla="*/ 394 w 458"/>
              <a:gd name="T43" fmla="*/ 220 h 288"/>
              <a:gd name="T44" fmla="*/ 306 w 458"/>
              <a:gd name="T45" fmla="*/ 254 h 288"/>
              <a:gd name="T46" fmla="*/ 257 w 458"/>
              <a:gd name="T47" fmla="*/ 260 h 288"/>
              <a:gd name="T48" fmla="*/ 192 w 458"/>
              <a:gd name="T49" fmla="*/ 266 h 288"/>
              <a:gd name="T50" fmla="*/ 94 w 458"/>
              <a:gd name="T51" fmla="*/ 259 h 288"/>
              <a:gd name="T52" fmla="*/ 17 w 458"/>
              <a:gd name="T53" fmla="*/ 215 h 288"/>
              <a:gd name="T54" fmla="*/ 46 w 458"/>
              <a:gd name="T55" fmla="*/ 132 h 288"/>
              <a:gd name="T56" fmla="*/ 111 w 458"/>
              <a:gd name="T57" fmla="*/ 77 h 288"/>
              <a:gd name="T58" fmla="*/ 203 w 458"/>
              <a:gd name="T59" fmla="*/ 34 h 288"/>
              <a:gd name="T60" fmla="*/ 294 w 458"/>
              <a:gd name="T61" fmla="*/ 22 h 288"/>
              <a:gd name="T62" fmla="*/ 382 w 458"/>
              <a:gd name="T63" fmla="*/ 18 h 288"/>
              <a:gd name="T64" fmla="*/ 345 w 458"/>
              <a:gd name="T65" fmla="*/ 5 h 288"/>
              <a:gd name="T66" fmla="*/ 219 w 458"/>
              <a:gd name="T67" fmla="*/ 14 h 288"/>
              <a:gd name="T68" fmla="*/ 134 w 458"/>
              <a:gd name="T69" fmla="*/ 42 h 288"/>
              <a:gd name="T70" fmla="*/ 345 w 458"/>
              <a:gd name="T71" fmla="*/ 25 h 288"/>
              <a:gd name="T72" fmla="*/ 61 w 458"/>
              <a:gd name="T73" fmla="*/ 253 h 288"/>
              <a:gd name="T74" fmla="*/ 107 w 458"/>
              <a:gd name="T75" fmla="*/ 277 h 288"/>
              <a:gd name="T76" fmla="*/ 338 w 458"/>
              <a:gd name="T77" fmla="*/ 257 h 288"/>
              <a:gd name="T78" fmla="*/ 415 w 458"/>
              <a:gd name="T79" fmla="*/ 215 h 288"/>
              <a:gd name="T80" fmla="*/ 373 w 458"/>
              <a:gd name="T81" fmla="*/ 243 h 288"/>
              <a:gd name="T82" fmla="*/ 398 w 458"/>
              <a:gd name="T83" fmla="*/ 232 h 288"/>
              <a:gd name="T84" fmla="*/ 249 w 458"/>
              <a:gd name="T85" fmla="*/ 6 h 288"/>
              <a:gd name="T86" fmla="*/ 402 w 458"/>
              <a:gd name="T87" fmla="*/ 65 h 288"/>
              <a:gd name="T88" fmla="*/ 437 w 458"/>
              <a:gd name="T89" fmla="*/ 188 h 288"/>
              <a:gd name="T90" fmla="*/ 424 w 458"/>
              <a:gd name="T91" fmla="*/ 202 h 288"/>
              <a:gd name="T92" fmla="*/ 259 w 458"/>
              <a:gd name="T93" fmla="*/ 266 h 288"/>
              <a:gd name="T94" fmla="*/ 162 w 458"/>
              <a:gd name="T95" fmla="*/ 45 h 288"/>
              <a:gd name="T96" fmla="*/ 224 w 458"/>
              <a:gd name="T97" fmla="*/ 29 h 288"/>
              <a:gd name="T98" fmla="*/ 284 w 458"/>
              <a:gd name="T99" fmla="*/ 20 h 288"/>
              <a:gd name="T100" fmla="*/ 253 w 458"/>
              <a:gd name="T101" fmla="*/ 20 h 288"/>
              <a:gd name="T102" fmla="*/ 82 w 458"/>
              <a:gd name="T103" fmla="*/ 93 h 288"/>
              <a:gd name="T104" fmla="*/ 153 w 458"/>
              <a:gd name="T105" fmla="*/ 274 h 288"/>
              <a:gd name="T106" fmla="*/ 46 w 458"/>
              <a:gd name="T107" fmla="*/ 119 h 288"/>
              <a:gd name="T108" fmla="*/ 19 w 458"/>
              <a:gd name="T109" fmla="*/ 155 h 288"/>
              <a:gd name="T110" fmla="*/ 56 w 458"/>
              <a:gd name="T111" fmla="*/ 97 h 288"/>
              <a:gd name="T112" fmla="*/ 192 w 458"/>
              <a:gd name="T113" fmla="*/ 266 h 288"/>
              <a:gd name="T114" fmla="*/ 147 w 458"/>
              <a:gd name="T115" fmla="*/ 12 h 288"/>
              <a:gd name="T116" fmla="*/ 268 w 458"/>
              <a:gd name="T117" fmla="*/ 12 h 288"/>
              <a:gd name="T118" fmla="*/ 445 w 458"/>
              <a:gd name="T119" fmla="*/ 137 h 288"/>
              <a:gd name="T120" fmla="*/ 420 w 458"/>
              <a:gd name="T121" fmla="*/ 196 h 288"/>
              <a:gd name="T122" fmla="*/ 26 w 458"/>
              <a:gd name="T123" fmla="*/ 22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8" h="288">
                <a:moveTo>
                  <a:pt x="125" y="15"/>
                </a:moveTo>
                <a:cubicBezTo>
                  <a:pt x="125" y="15"/>
                  <a:pt x="125" y="15"/>
                  <a:pt x="125" y="15"/>
                </a:cubicBezTo>
                <a:cubicBezTo>
                  <a:pt x="125" y="15"/>
                  <a:pt x="125" y="15"/>
                  <a:pt x="125" y="15"/>
                </a:cubicBezTo>
                <a:close/>
                <a:moveTo>
                  <a:pt x="122" y="17"/>
                </a:moveTo>
                <a:cubicBezTo>
                  <a:pt x="123" y="17"/>
                  <a:pt x="124" y="16"/>
                  <a:pt x="125" y="15"/>
                </a:cubicBezTo>
                <a:cubicBezTo>
                  <a:pt x="124" y="15"/>
                  <a:pt x="122" y="14"/>
                  <a:pt x="122" y="17"/>
                </a:cubicBezTo>
                <a:close/>
                <a:moveTo>
                  <a:pt x="124" y="11"/>
                </a:moveTo>
                <a:cubicBezTo>
                  <a:pt x="123" y="12"/>
                  <a:pt x="123" y="12"/>
                  <a:pt x="123" y="12"/>
                </a:cubicBezTo>
                <a:cubicBezTo>
                  <a:pt x="124" y="12"/>
                  <a:pt x="124" y="11"/>
                  <a:pt x="124" y="11"/>
                </a:cubicBezTo>
                <a:close/>
                <a:moveTo>
                  <a:pt x="124" y="13"/>
                </a:moveTo>
                <a:cubicBezTo>
                  <a:pt x="125" y="14"/>
                  <a:pt x="125" y="14"/>
                  <a:pt x="125" y="14"/>
                </a:cubicBezTo>
                <a:cubicBezTo>
                  <a:pt x="125" y="13"/>
                  <a:pt x="125" y="13"/>
                  <a:pt x="125" y="13"/>
                </a:cubicBezTo>
                <a:lnTo>
                  <a:pt x="124" y="13"/>
                </a:lnTo>
                <a:close/>
                <a:moveTo>
                  <a:pt x="321" y="247"/>
                </a:moveTo>
                <a:cubicBezTo>
                  <a:pt x="322" y="246"/>
                  <a:pt x="322" y="246"/>
                  <a:pt x="321" y="245"/>
                </a:cubicBezTo>
                <a:lnTo>
                  <a:pt x="321" y="247"/>
                </a:lnTo>
                <a:close/>
                <a:moveTo>
                  <a:pt x="296" y="258"/>
                </a:moveTo>
                <a:cubicBezTo>
                  <a:pt x="294" y="259"/>
                  <a:pt x="293" y="259"/>
                  <a:pt x="291" y="260"/>
                </a:cubicBezTo>
                <a:cubicBezTo>
                  <a:pt x="293" y="259"/>
                  <a:pt x="294" y="259"/>
                  <a:pt x="296" y="258"/>
                </a:cubicBezTo>
                <a:close/>
                <a:moveTo>
                  <a:pt x="343" y="240"/>
                </a:moveTo>
                <a:cubicBezTo>
                  <a:pt x="339" y="241"/>
                  <a:pt x="339" y="241"/>
                  <a:pt x="339" y="241"/>
                </a:cubicBezTo>
                <a:cubicBezTo>
                  <a:pt x="340" y="241"/>
                  <a:pt x="342" y="240"/>
                  <a:pt x="343" y="240"/>
                </a:cubicBezTo>
                <a:close/>
                <a:moveTo>
                  <a:pt x="362" y="45"/>
                </a:moveTo>
                <a:cubicBezTo>
                  <a:pt x="358" y="43"/>
                  <a:pt x="354" y="42"/>
                  <a:pt x="351" y="41"/>
                </a:cubicBezTo>
                <a:cubicBezTo>
                  <a:pt x="358" y="45"/>
                  <a:pt x="360" y="44"/>
                  <a:pt x="362" y="45"/>
                </a:cubicBezTo>
                <a:close/>
                <a:moveTo>
                  <a:pt x="176" y="284"/>
                </a:moveTo>
                <a:cubicBezTo>
                  <a:pt x="175" y="284"/>
                  <a:pt x="175" y="284"/>
                  <a:pt x="175" y="284"/>
                </a:cubicBezTo>
                <a:cubicBezTo>
                  <a:pt x="173" y="284"/>
                  <a:pt x="173" y="284"/>
                  <a:pt x="176" y="284"/>
                </a:cubicBezTo>
                <a:close/>
                <a:moveTo>
                  <a:pt x="293" y="272"/>
                </a:moveTo>
                <a:cubicBezTo>
                  <a:pt x="293" y="272"/>
                  <a:pt x="293" y="271"/>
                  <a:pt x="292" y="271"/>
                </a:cubicBezTo>
                <a:cubicBezTo>
                  <a:pt x="291" y="272"/>
                  <a:pt x="291" y="272"/>
                  <a:pt x="291" y="272"/>
                </a:cubicBezTo>
                <a:lnTo>
                  <a:pt x="293" y="272"/>
                </a:lnTo>
                <a:close/>
                <a:moveTo>
                  <a:pt x="361" y="235"/>
                </a:moveTo>
                <a:cubicBezTo>
                  <a:pt x="361" y="235"/>
                  <a:pt x="361" y="234"/>
                  <a:pt x="361" y="234"/>
                </a:cubicBezTo>
                <a:cubicBezTo>
                  <a:pt x="365" y="233"/>
                  <a:pt x="365" y="233"/>
                  <a:pt x="365" y="233"/>
                </a:cubicBezTo>
                <a:cubicBezTo>
                  <a:pt x="363" y="233"/>
                  <a:pt x="362" y="234"/>
                  <a:pt x="361" y="235"/>
                </a:cubicBezTo>
                <a:close/>
                <a:moveTo>
                  <a:pt x="138" y="283"/>
                </a:moveTo>
                <a:cubicBezTo>
                  <a:pt x="136" y="284"/>
                  <a:pt x="135" y="284"/>
                  <a:pt x="133" y="285"/>
                </a:cubicBezTo>
                <a:cubicBezTo>
                  <a:pt x="137" y="285"/>
                  <a:pt x="139" y="284"/>
                  <a:pt x="138" y="283"/>
                </a:cubicBezTo>
                <a:close/>
                <a:moveTo>
                  <a:pt x="291" y="260"/>
                </a:moveTo>
                <a:cubicBezTo>
                  <a:pt x="291" y="260"/>
                  <a:pt x="291" y="260"/>
                  <a:pt x="291" y="260"/>
                </a:cubicBezTo>
                <a:cubicBezTo>
                  <a:pt x="291" y="260"/>
                  <a:pt x="291" y="260"/>
                  <a:pt x="291" y="260"/>
                </a:cubicBezTo>
                <a:close/>
                <a:moveTo>
                  <a:pt x="331" y="261"/>
                </a:moveTo>
                <a:cubicBezTo>
                  <a:pt x="325" y="263"/>
                  <a:pt x="325" y="263"/>
                  <a:pt x="325" y="263"/>
                </a:cubicBezTo>
                <a:cubicBezTo>
                  <a:pt x="327" y="262"/>
                  <a:pt x="330" y="262"/>
                  <a:pt x="331" y="261"/>
                </a:cubicBezTo>
                <a:close/>
                <a:moveTo>
                  <a:pt x="362" y="45"/>
                </a:moveTo>
                <a:cubicBezTo>
                  <a:pt x="366" y="46"/>
                  <a:pt x="366" y="46"/>
                  <a:pt x="366" y="46"/>
                </a:cubicBezTo>
                <a:cubicBezTo>
                  <a:pt x="364" y="45"/>
                  <a:pt x="363" y="45"/>
                  <a:pt x="362" y="45"/>
                </a:cubicBezTo>
                <a:close/>
                <a:moveTo>
                  <a:pt x="136" y="14"/>
                </a:moveTo>
                <a:cubicBezTo>
                  <a:pt x="140" y="14"/>
                  <a:pt x="141" y="13"/>
                  <a:pt x="141" y="12"/>
                </a:cubicBezTo>
                <a:cubicBezTo>
                  <a:pt x="139" y="13"/>
                  <a:pt x="138" y="14"/>
                  <a:pt x="136" y="14"/>
                </a:cubicBezTo>
                <a:close/>
                <a:moveTo>
                  <a:pt x="373" y="14"/>
                </a:moveTo>
                <a:cubicBezTo>
                  <a:pt x="375" y="14"/>
                  <a:pt x="375" y="14"/>
                  <a:pt x="375" y="14"/>
                </a:cubicBezTo>
                <a:cubicBezTo>
                  <a:pt x="374" y="14"/>
                  <a:pt x="374" y="14"/>
                  <a:pt x="373" y="14"/>
                </a:cubicBezTo>
                <a:close/>
                <a:moveTo>
                  <a:pt x="234" y="28"/>
                </a:moveTo>
                <a:cubicBezTo>
                  <a:pt x="233" y="29"/>
                  <a:pt x="232" y="29"/>
                  <a:pt x="232" y="29"/>
                </a:cubicBezTo>
                <a:cubicBezTo>
                  <a:pt x="233" y="29"/>
                  <a:pt x="234" y="29"/>
                  <a:pt x="234" y="28"/>
                </a:cubicBezTo>
                <a:close/>
                <a:moveTo>
                  <a:pt x="109" y="53"/>
                </a:moveTo>
                <a:cubicBezTo>
                  <a:pt x="103" y="58"/>
                  <a:pt x="96" y="64"/>
                  <a:pt x="90" y="69"/>
                </a:cubicBezTo>
                <a:cubicBezTo>
                  <a:pt x="88" y="69"/>
                  <a:pt x="79" y="75"/>
                  <a:pt x="85" y="70"/>
                </a:cubicBezTo>
                <a:cubicBezTo>
                  <a:pt x="83" y="72"/>
                  <a:pt x="80" y="75"/>
                  <a:pt x="78" y="77"/>
                </a:cubicBezTo>
                <a:cubicBezTo>
                  <a:pt x="78" y="76"/>
                  <a:pt x="78" y="76"/>
                  <a:pt x="78" y="76"/>
                </a:cubicBezTo>
                <a:cubicBezTo>
                  <a:pt x="62" y="87"/>
                  <a:pt x="49" y="101"/>
                  <a:pt x="38" y="116"/>
                </a:cubicBezTo>
                <a:cubicBezTo>
                  <a:pt x="27" y="131"/>
                  <a:pt x="17" y="147"/>
                  <a:pt x="7" y="166"/>
                </a:cubicBezTo>
                <a:cubicBezTo>
                  <a:pt x="7" y="165"/>
                  <a:pt x="7" y="165"/>
                  <a:pt x="7" y="165"/>
                </a:cubicBezTo>
                <a:cubicBezTo>
                  <a:pt x="5" y="173"/>
                  <a:pt x="3" y="182"/>
                  <a:pt x="3" y="190"/>
                </a:cubicBezTo>
                <a:cubicBezTo>
                  <a:pt x="3" y="195"/>
                  <a:pt x="0" y="196"/>
                  <a:pt x="0" y="204"/>
                </a:cubicBezTo>
                <a:cubicBezTo>
                  <a:pt x="1" y="202"/>
                  <a:pt x="1" y="206"/>
                  <a:pt x="2" y="211"/>
                </a:cubicBezTo>
                <a:cubicBezTo>
                  <a:pt x="2" y="213"/>
                  <a:pt x="3" y="216"/>
                  <a:pt x="3" y="218"/>
                </a:cubicBezTo>
                <a:cubicBezTo>
                  <a:pt x="4" y="220"/>
                  <a:pt x="5" y="223"/>
                  <a:pt x="6" y="224"/>
                </a:cubicBezTo>
                <a:cubicBezTo>
                  <a:pt x="7" y="230"/>
                  <a:pt x="4" y="224"/>
                  <a:pt x="3" y="222"/>
                </a:cubicBezTo>
                <a:cubicBezTo>
                  <a:pt x="5" y="229"/>
                  <a:pt x="8" y="235"/>
                  <a:pt x="12" y="240"/>
                </a:cubicBezTo>
                <a:cubicBezTo>
                  <a:pt x="16" y="246"/>
                  <a:pt x="20" y="250"/>
                  <a:pt x="25" y="253"/>
                </a:cubicBezTo>
                <a:cubicBezTo>
                  <a:pt x="34" y="260"/>
                  <a:pt x="45" y="265"/>
                  <a:pt x="57" y="270"/>
                </a:cubicBezTo>
                <a:cubicBezTo>
                  <a:pt x="45" y="264"/>
                  <a:pt x="40" y="260"/>
                  <a:pt x="35" y="257"/>
                </a:cubicBezTo>
                <a:cubicBezTo>
                  <a:pt x="31" y="254"/>
                  <a:pt x="27" y="252"/>
                  <a:pt x="20" y="244"/>
                </a:cubicBezTo>
                <a:cubicBezTo>
                  <a:pt x="29" y="252"/>
                  <a:pt x="34" y="255"/>
                  <a:pt x="39" y="258"/>
                </a:cubicBezTo>
                <a:cubicBezTo>
                  <a:pt x="45" y="262"/>
                  <a:pt x="50" y="265"/>
                  <a:pt x="60" y="268"/>
                </a:cubicBezTo>
                <a:cubicBezTo>
                  <a:pt x="57" y="267"/>
                  <a:pt x="54" y="267"/>
                  <a:pt x="51" y="265"/>
                </a:cubicBezTo>
                <a:cubicBezTo>
                  <a:pt x="55" y="269"/>
                  <a:pt x="63" y="272"/>
                  <a:pt x="71" y="273"/>
                </a:cubicBezTo>
                <a:cubicBezTo>
                  <a:pt x="78" y="275"/>
                  <a:pt x="84" y="276"/>
                  <a:pt x="85" y="278"/>
                </a:cubicBezTo>
                <a:cubicBezTo>
                  <a:pt x="98" y="280"/>
                  <a:pt x="109" y="278"/>
                  <a:pt x="124" y="280"/>
                </a:cubicBezTo>
                <a:cubicBezTo>
                  <a:pt x="117" y="283"/>
                  <a:pt x="117" y="283"/>
                  <a:pt x="117" y="283"/>
                </a:cubicBezTo>
                <a:cubicBezTo>
                  <a:pt x="121" y="283"/>
                  <a:pt x="126" y="284"/>
                  <a:pt x="130" y="284"/>
                </a:cubicBezTo>
                <a:cubicBezTo>
                  <a:pt x="131" y="282"/>
                  <a:pt x="131" y="282"/>
                  <a:pt x="131" y="282"/>
                </a:cubicBezTo>
                <a:cubicBezTo>
                  <a:pt x="135" y="282"/>
                  <a:pt x="137" y="283"/>
                  <a:pt x="138" y="283"/>
                </a:cubicBezTo>
                <a:cubicBezTo>
                  <a:pt x="147" y="282"/>
                  <a:pt x="160" y="284"/>
                  <a:pt x="173" y="283"/>
                </a:cubicBezTo>
                <a:cubicBezTo>
                  <a:pt x="175" y="284"/>
                  <a:pt x="175" y="284"/>
                  <a:pt x="175" y="284"/>
                </a:cubicBezTo>
                <a:cubicBezTo>
                  <a:pt x="176" y="283"/>
                  <a:pt x="177" y="283"/>
                  <a:pt x="177" y="283"/>
                </a:cubicBezTo>
                <a:cubicBezTo>
                  <a:pt x="180" y="285"/>
                  <a:pt x="190" y="284"/>
                  <a:pt x="191" y="286"/>
                </a:cubicBezTo>
                <a:cubicBezTo>
                  <a:pt x="187" y="286"/>
                  <a:pt x="177" y="287"/>
                  <a:pt x="178" y="286"/>
                </a:cubicBezTo>
                <a:cubicBezTo>
                  <a:pt x="167" y="288"/>
                  <a:pt x="191" y="287"/>
                  <a:pt x="198" y="287"/>
                </a:cubicBezTo>
                <a:cubicBezTo>
                  <a:pt x="190" y="286"/>
                  <a:pt x="200" y="286"/>
                  <a:pt x="204" y="285"/>
                </a:cubicBezTo>
                <a:cubicBezTo>
                  <a:pt x="205" y="286"/>
                  <a:pt x="203" y="286"/>
                  <a:pt x="203" y="286"/>
                </a:cubicBezTo>
                <a:cubicBezTo>
                  <a:pt x="216" y="287"/>
                  <a:pt x="220" y="281"/>
                  <a:pt x="229" y="284"/>
                </a:cubicBezTo>
                <a:cubicBezTo>
                  <a:pt x="231" y="282"/>
                  <a:pt x="231" y="282"/>
                  <a:pt x="231" y="282"/>
                </a:cubicBezTo>
                <a:cubicBezTo>
                  <a:pt x="234" y="283"/>
                  <a:pt x="238" y="283"/>
                  <a:pt x="241" y="283"/>
                </a:cubicBezTo>
                <a:cubicBezTo>
                  <a:pt x="242" y="279"/>
                  <a:pt x="255" y="281"/>
                  <a:pt x="257" y="277"/>
                </a:cubicBezTo>
                <a:cubicBezTo>
                  <a:pt x="268" y="275"/>
                  <a:pt x="255" y="279"/>
                  <a:pt x="259" y="278"/>
                </a:cubicBezTo>
                <a:cubicBezTo>
                  <a:pt x="270" y="278"/>
                  <a:pt x="288" y="270"/>
                  <a:pt x="292" y="271"/>
                </a:cubicBezTo>
                <a:cubicBezTo>
                  <a:pt x="301" y="268"/>
                  <a:pt x="311" y="266"/>
                  <a:pt x="319" y="263"/>
                </a:cubicBezTo>
                <a:cubicBezTo>
                  <a:pt x="320" y="265"/>
                  <a:pt x="320" y="265"/>
                  <a:pt x="320" y="265"/>
                </a:cubicBezTo>
                <a:cubicBezTo>
                  <a:pt x="324" y="263"/>
                  <a:pt x="328" y="261"/>
                  <a:pt x="332" y="260"/>
                </a:cubicBezTo>
                <a:cubicBezTo>
                  <a:pt x="332" y="260"/>
                  <a:pt x="331" y="260"/>
                  <a:pt x="331" y="261"/>
                </a:cubicBezTo>
                <a:cubicBezTo>
                  <a:pt x="351" y="253"/>
                  <a:pt x="351" y="253"/>
                  <a:pt x="351" y="253"/>
                </a:cubicBezTo>
                <a:cubicBezTo>
                  <a:pt x="357" y="250"/>
                  <a:pt x="363" y="248"/>
                  <a:pt x="369" y="246"/>
                </a:cubicBezTo>
                <a:cubicBezTo>
                  <a:pt x="368" y="247"/>
                  <a:pt x="369" y="248"/>
                  <a:pt x="362" y="251"/>
                </a:cubicBezTo>
                <a:cubicBezTo>
                  <a:pt x="373" y="248"/>
                  <a:pt x="392" y="238"/>
                  <a:pt x="408" y="228"/>
                </a:cubicBezTo>
                <a:cubicBezTo>
                  <a:pt x="407" y="229"/>
                  <a:pt x="407" y="229"/>
                  <a:pt x="407" y="229"/>
                </a:cubicBezTo>
                <a:cubicBezTo>
                  <a:pt x="410" y="227"/>
                  <a:pt x="413" y="225"/>
                  <a:pt x="415" y="222"/>
                </a:cubicBezTo>
                <a:cubicBezTo>
                  <a:pt x="414" y="224"/>
                  <a:pt x="415" y="223"/>
                  <a:pt x="416" y="224"/>
                </a:cubicBezTo>
                <a:cubicBezTo>
                  <a:pt x="423" y="219"/>
                  <a:pt x="431" y="211"/>
                  <a:pt x="437" y="204"/>
                </a:cubicBezTo>
                <a:cubicBezTo>
                  <a:pt x="443" y="196"/>
                  <a:pt x="446" y="189"/>
                  <a:pt x="447" y="183"/>
                </a:cubicBezTo>
                <a:cubicBezTo>
                  <a:pt x="445" y="188"/>
                  <a:pt x="453" y="176"/>
                  <a:pt x="449" y="187"/>
                </a:cubicBezTo>
                <a:cubicBezTo>
                  <a:pt x="453" y="178"/>
                  <a:pt x="456" y="167"/>
                  <a:pt x="457" y="155"/>
                </a:cubicBezTo>
                <a:cubicBezTo>
                  <a:pt x="458" y="144"/>
                  <a:pt x="456" y="132"/>
                  <a:pt x="452" y="122"/>
                </a:cubicBezTo>
                <a:cubicBezTo>
                  <a:pt x="452" y="123"/>
                  <a:pt x="452" y="123"/>
                  <a:pt x="452" y="123"/>
                </a:cubicBezTo>
                <a:cubicBezTo>
                  <a:pt x="450" y="120"/>
                  <a:pt x="449" y="117"/>
                  <a:pt x="447" y="115"/>
                </a:cubicBezTo>
                <a:cubicBezTo>
                  <a:pt x="447" y="114"/>
                  <a:pt x="447" y="114"/>
                  <a:pt x="447" y="114"/>
                </a:cubicBezTo>
                <a:cubicBezTo>
                  <a:pt x="448" y="116"/>
                  <a:pt x="449" y="118"/>
                  <a:pt x="450" y="120"/>
                </a:cubicBezTo>
                <a:cubicBezTo>
                  <a:pt x="447" y="112"/>
                  <a:pt x="443" y="105"/>
                  <a:pt x="438" y="100"/>
                </a:cubicBezTo>
                <a:cubicBezTo>
                  <a:pt x="438" y="99"/>
                  <a:pt x="438" y="96"/>
                  <a:pt x="436" y="92"/>
                </a:cubicBezTo>
                <a:cubicBezTo>
                  <a:pt x="435" y="93"/>
                  <a:pt x="432" y="88"/>
                  <a:pt x="427" y="82"/>
                </a:cubicBezTo>
                <a:cubicBezTo>
                  <a:pt x="423" y="76"/>
                  <a:pt x="417" y="70"/>
                  <a:pt x="413" y="67"/>
                </a:cubicBezTo>
                <a:cubicBezTo>
                  <a:pt x="412" y="66"/>
                  <a:pt x="416" y="70"/>
                  <a:pt x="414" y="67"/>
                </a:cubicBezTo>
                <a:cubicBezTo>
                  <a:pt x="405" y="59"/>
                  <a:pt x="392" y="49"/>
                  <a:pt x="378" y="41"/>
                </a:cubicBezTo>
                <a:cubicBezTo>
                  <a:pt x="364" y="33"/>
                  <a:pt x="349" y="26"/>
                  <a:pt x="336" y="20"/>
                </a:cubicBezTo>
                <a:cubicBezTo>
                  <a:pt x="334" y="21"/>
                  <a:pt x="327" y="19"/>
                  <a:pt x="319" y="17"/>
                </a:cubicBezTo>
                <a:cubicBezTo>
                  <a:pt x="311" y="15"/>
                  <a:pt x="301" y="13"/>
                  <a:pt x="293" y="12"/>
                </a:cubicBezTo>
                <a:cubicBezTo>
                  <a:pt x="290" y="9"/>
                  <a:pt x="302" y="13"/>
                  <a:pt x="307" y="12"/>
                </a:cubicBezTo>
                <a:cubicBezTo>
                  <a:pt x="298" y="11"/>
                  <a:pt x="306" y="9"/>
                  <a:pt x="290" y="7"/>
                </a:cubicBezTo>
                <a:cubicBezTo>
                  <a:pt x="291" y="7"/>
                  <a:pt x="290" y="6"/>
                  <a:pt x="293" y="7"/>
                </a:cubicBezTo>
                <a:cubicBezTo>
                  <a:pt x="285" y="5"/>
                  <a:pt x="295" y="10"/>
                  <a:pt x="281" y="7"/>
                </a:cubicBezTo>
                <a:cubicBezTo>
                  <a:pt x="281" y="5"/>
                  <a:pt x="281" y="5"/>
                  <a:pt x="281" y="5"/>
                </a:cubicBezTo>
                <a:cubicBezTo>
                  <a:pt x="273" y="6"/>
                  <a:pt x="273" y="6"/>
                  <a:pt x="273" y="6"/>
                </a:cubicBezTo>
                <a:cubicBezTo>
                  <a:pt x="245" y="1"/>
                  <a:pt x="221" y="1"/>
                  <a:pt x="197" y="0"/>
                </a:cubicBezTo>
                <a:cubicBezTo>
                  <a:pt x="195" y="0"/>
                  <a:pt x="196" y="1"/>
                  <a:pt x="199" y="2"/>
                </a:cubicBezTo>
                <a:cubicBezTo>
                  <a:pt x="188" y="2"/>
                  <a:pt x="175" y="5"/>
                  <a:pt x="163" y="5"/>
                </a:cubicBezTo>
                <a:cubicBezTo>
                  <a:pt x="166" y="4"/>
                  <a:pt x="166" y="4"/>
                  <a:pt x="166" y="4"/>
                </a:cubicBezTo>
                <a:cubicBezTo>
                  <a:pt x="156" y="5"/>
                  <a:pt x="151" y="6"/>
                  <a:pt x="145" y="7"/>
                </a:cubicBezTo>
                <a:cubicBezTo>
                  <a:pt x="136" y="10"/>
                  <a:pt x="136" y="10"/>
                  <a:pt x="136" y="10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6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8" y="13"/>
                  <a:pt x="128" y="13"/>
                  <a:pt x="128" y="13"/>
                </a:cubicBezTo>
                <a:cubicBezTo>
                  <a:pt x="130" y="12"/>
                  <a:pt x="132" y="12"/>
                  <a:pt x="133" y="11"/>
                </a:cubicBezTo>
                <a:cubicBezTo>
                  <a:pt x="137" y="10"/>
                  <a:pt x="141" y="10"/>
                  <a:pt x="141" y="11"/>
                </a:cubicBezTo>
                <a:cubicBezTo>
                  <a:pt x="140" y="12"/>
                  <a:pt x="137" y="13"/>
                  <a:pt x="133" y="13"/>
                </a:cubicBezTo>
                <a:cubicBezTo>
                  <a:pt x="131" y="14"/>
                  <a:pt x="130" y="14"/>
                  <a:pt x="128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27" y="16"/>
                  <a:pt x="127" y="16"/>
                  <a:pt x="127" y="15"/>
                </a:cubicBezTo>
                <a:cubicBezTo>
                  <a:pt x="128" y="15"/>
                  <a:pt x="128" y="15"/>
                  <a:pt x="129" y="15"/>
                </a:cubicBezTo>
                <a:cubicBezTo>
                  <a:pt x="130" y="14"/>
                  <a:pt x="132" y="14"/>
                  <a:pt x="134" y="13"/>
                </a:cubicBezTo>
                <a:cubicBezTo>
                  <a:pt x="144" y="11"/>
                  <a:pt x="144" y="11"/>
                  <a:pt x="144" y="11"/>
                </a:cubicBezTo>
                <a:cubicBezTo>
                  <a:pt x="142" y="11"/>
                  <a:pt x="142" y="12"/>
                  <a:pt x="141" y="12"/>
                </a:cubicBezTo>
                <a:cubicBezTo>
                  <a:pt x="147" y="11"/>
                  <a:pt x="155" y="10"/>
                  <a:pt x="163" y="8"/>
                </a:cubicBezTo>
                <a:cubicBezTo>
                  <a:pt x="159" y="8"/>
                  <a:pt x="155" y="9"/>
                  <a:pt x="151" y="9"/>
                </a:cubicBezTo>
                <a:cubicBezTo>
                  <a:pt x="156" y="7"/>
                  <a:pt x="171" y="7"/>
                  <a:pt x="176" y="6"/>
                </a:cubicBezTo>
                <a:cubicBezTo>
                  <a:pt x="176" y="8"/>
                  <a:pt x="169" y="8"/>
                  <a:pt x="176" y="9"/>
                </a:cubicBezTo>
                <a:cubicBezTo>
                  <a:pt x="186" y="9"/>
                  <a:pt x="189" y="8"/>
                  <a:pt x="192" y="7"/>
                </a:cubicBezTo>
                <a:cubicBezTo>
                  <a:pt x="194" y="6"/>
                  <a:pt x="197" y="5"/>
                  <a:pt x="207" y="4"/>
                </a:cubicBezTo>
                <a:cubicBezTo>
                  <a:pt x="203" y="3"/>
                  <a:pt x="203" y="3"/>
                  <a:pt x="203" y="3"/>
                </a:cubicBezTo>
                <a:cubicBezTo>
                  <a:pt x="209" y="3"/>
                  <a:pt x="214" y="1"/>
                  <a:pt x="223" y="2"/>
                </a:cubicBezTo>
                <a:cubicBezTo>
                  <a:pt x="223" y="4"/>
                  <a:pt x="216" y="4"/>
                  <a:pt x="213" y="4"/>
                </a:cubicBezTo>
                <a:cubicBezTo>
                  <a:pt x="214" y="5"/>
                  <a:pt x="224" y="2"/>
                  <a:pt x="230" y="4"/>
                </a:cubicBezTo>
                <a:cubicBezTo>
                  <a:pt x="225" y="5"/>
                  <a:pt x="210" y="6"/>
                  <a:pt x="200" y="6"/>
                </a:cubicBezTo>
                <a:cubicBezTo>
                  <a:pt x="201" y="7"/>
                  <a:pt x="201" y="7"/>
                  <a:pt x="200" y="8"/>
                </a:cubicBezTo>
                <a:cubicBezTo>
                  <a:pt x="229" y="6"/>
                  <a:pt x="262" y="6"/>
                  <a:pt x="291" y="13"/>
                </a:cubicBezTo>
                <a:cubicBezTo>
                  <a:pt x="275" y="13"/>
                  <a:pt x="297" y="15"/>
                  <a:pt x="293" y="17"/>
                </a:cubicBezTo>
                <a:cubicBezTo>
                  <a:pt x="296" y="15"/>
                  <a:pt x="304" y="19"/>
                  <a:pt x="312" y="21"/>
                </a:cubicBezTo>
                <a:cubicBezTo>
                  <a:pt x="315" y="24"/>
                  <a:pt x="296" y="18"/>
                  <a:pt x="302" y="21"/>
                </a:cubicBezTo>
                <a:cubicBezTo>
                  <a:pt x="317" y="24"/>
                  <a:pt x="338" y="28"/>
                  <a:pt x="356" y="38"/>
                </a:cubicBezTo>
                <a:cubicBezTo>
                  <a:pt x="355" y="38"/>
                  <a:pt x="350" y="36"/>
                  <a:pt x="349" y="36"/>
                </a:cubicBezTo>
                <a:cubicBezTo>
                  <a:pt x="356" y="38"/>
                  <a:pt x="363" y="41"/>
                  <a:pt x="370" y="44"/>
                </a:cubicBezTo>
                <a:cubicBezTo>
                  <a:pt x="376" y="47"/>
                  <a:pt x="382" y="50"/>
                  <a:pt x="385" y="54"/>
                </a:cubicBezTo>
                <a:cubicBezTo>
                  <a:pt x="379" y="51"/>
                  <a:pt x="372" y="48"/>
                  <a:pt x="366" y="46"/>
                </a:cubicBezTo>
                <a:cubicBezTo>
                  <a:pt x="367" y="47"/>
                  <a:pt x="369" y="48"/>
                  <a:pt x="372" y="50"/>
                </a:cubicBezTo>
                <a:cubicBezTo>
                  <a:pt x="370" y="50"/>
                  <a:pt x="368" y="50"/>
                  <a:pt x="367" y="49"/>
                </a:cubicBezTo>
                <a:cubicBezTo>
                  <a:pt x="380" y="58"/>
                  <a:pt x="379" y="53"/>
                  <a:pt x="387" y="57"/>
                </a:cubicBezTo>
                <a:cubicBezTo>
                  <a:pt x="389" y="59"/>
                  <a:pt x="392" y="62"/>
                  <a:pt x="394" y="64"/>
                </a:cubicBezTo>
                <a:cubicBezTo>
                  <a:pt x="407" y="76"/>
                  <a:pt x="419" y="88"/>
                  <a:pt x="428" y="95"/>
                </a:cubicBezTo>
                <a:cubicBezTo>
                  <a:pt x="431" y="98"/>
                  <a:pt x="438" y="109"/>
                  <a:pt x="433" y="106"/>
                </a:cubicBezTo>
                <a:cubicBezTo>
                  <a:pt x="430" y="103"/>
                  <a:pt x="427" y="101"/>
                  <a:pt x="424" y="98"/>
                </a:cubicBezTo>
                <a:cubicBezTo>
                  <a:pt x="421" y="95"/>
                  <a:pt x="417" y="91"/>
                  <a:pt x="411" y="84"/>
                </a:cubicBezTo>
                <a:cubicBezTo>
                  <a:pt x="410" y="81"/>
                  <a:pt x="421" y="93"/>
                  <a:pt x="418" y="89"/>
                </a:cubicBezTo>
                <a:cubicBezTo>
                  <a:pt x="413" y="84"/>
                  <a:pt x="404" y="73"/>
                  <a:pt x="398" y="71"/>
                </a:cubicBezTo>
                <a:cubicBezTo>
                  <a:pt x="403" y="75"/>
                  <a:pt x="408" y="79"/>
                  <a:pt x="412" y="84"/>
                </a:cubicBezTo>
                <a:cubicBezTo>
                  <a:pt x="410" y="85"/>
                  <a:pt x="407" y="78"/>
                  <a:pt x="403" y="77"/>
                </a:cubicBezTo>
                <a:cubicBezTo>
                  <a:pt x="406" y="82"/>
                  <a:pt x="415" y="88"/>
                  <a:pt x="419" y="95"/>
                </a:cubicBezTo>
                <a:cubicBezTo>
                  <a:pt x="418" y="94"/>
                  <a:pt x="418" y="94"/>
                  <a:pt x="418" y="94"/>
                </a:cubicBezTo>
                <a:cubicBezTo>
                  <a:pt x="423" y="99"/>
                  <a:pt x="425" y="102"/>
                  <a:pt x="427" y="104"/>
                </a:cubicBezTo>
                <a:cubicBezTo>
                  <a:pt x="428" y="107"/>
                  <a:pt x="430" y="110"/>
                  <a:pt x="434" y="116"/>
                </a:cubicBezTo>
                <a:cubicBezTo>
                  <a:pt x="437" y="115"/>
                  <a:pt x="434" y="110"/>
                  <a:pt x="430" y="104"/>
                </a:cubicBezTo>
                <a:cubicBezTo>
                  <a:pt x="437" y="114"/>
                  <a:pt x="445" y="127"/>
                  <a:pt x="448" y="141"/>
                </a:cubicBezTo>
                <a:cubicBezTo>
                  <a:pt x="449" y="148"/>
                  <a:pt x="449" y="156"/>
                  <a:pt x="447" y="163"/>
                </a:cubicBezTo>
                <a:cubicBezTo>
                  <a:pt x="445" y="169"/>
                  <a:pt x="442" y="176"/>
                  <a:pt x="439" y="180"/>
                </a:cubicBezTo>
                <a:cubicBezTo>
                  <a:pt x="440" y="176"/>
                  <a:pt x="441" y="171"/>
                  <a:pt x="442" y="166"/>
                </a:cubicBezTo>
                <a:cubicBezTo>
                  <a:pt x="441" y="171"/>
                  <a:pt x="439" y="176"/>
                  <a:pt x="436" y="181"/>
                </a:cubicBezTo>
                <a:cubicBezTo>
                  <a:pt x="434" y="185"/>
                  <a:pt x="432" y="188"/>
                  <a:pt x="431" y="187"/>
                </a:cubicBezTo>
                <a:cubicBezTo>
                  <a:pt x="434" y="183"/>
                  <a:pt x="434" y="181"/>
                  <a:pt x="434" y="180"/>
                </a:cubicBezTo>
                <a:cubicBezTo>
                  <a:pt x="434" y="180"/>
                  <a:pt x="434" y="179"/>
                  <a:pt x="435" y="177"/>
                </a:cubicBezTo>
                <a:cubicBezTo>
                  <a:pt x="435" y="176"/>
                  <a:pt x="435" y="176"/>
                  <a:pt x="435" y="176"/>
                </a:cubicBezTo>
                <a:cubicBezTo>
                  <a:pt x="436" y="175"/>
                  <a:pt x="437" y="172"/>
                  <a:pt x="436" y="174"/>
                </a:cubicBezTo>
                <a:cubicBezTo>
                  <a:pt x="434" y="181"/>
                  <a:pt x="428" y="192"/>
                  <a:pt x="423" y="199"/>
                </a:cubicBezTo>
                <a:cubicBezTo>
                  <a:pt x="425" y="195"/>
                  <a:pt x="419" y="201"/>
                  <a:pt x="417" y="201"/>
                </a:cubicBezTo>
                <a:cubicBezTo>
                  <a:pt x="412" y="207"/>
                  <a:pt x="418" y="202"/>
                  <a:pt x="419" y="202"/>
                </a:cubicBezTo>
                <a:cubicBezTo>
                  <a:pt x="416" y="206"/>
                  <a:pt x="412" y="212"/>
                  <a:pt x="408" y="213"/>
                </a:cubicBezTo>
                <a:cubicBezTo>
                  <a:pt x="405" y="214"/>
                  <a:pt x="406" y="212"/>
                  <a:pt x="408" y="210"/>
                </a:cubicBezTo>
                <a:cubicBezTo>
                  <a:pt x="411" y="208"/>
                  <a:pt x="413" y="205"/>
                  <a:pt x="414" y="204"/>
                </a:cubicBezTo>
                <a:cubicBezTo>
                  <a:pt x="408" y="210"/>
                  <a:pt x="402" y="216"/>
                  <a:pt x="395" y="221"/>
                </a:cubicBezTo>
                <a:cubicBezTo>
                  <a:pt x="395" y="220"/>
                  <a:pt x="395" y="220"/>
                  <a:pt x="395" y="220"/>
                </a:cubicBezTo>
                <a:cubicBezTo>
                  <a:pt x="393" y="221"/>
                  <a:pt x="390" y="224"/>
                  <a:pt x="388" y="224"/>
                </a:cubicBezTo>
                <a:cubicBezTo>
                  <a:pt x="385" y="224"/>
                  <a:pt x="390" y="222"/>
                  <a:pt x="394" y="220"/>
                </a:cubicBezTo>
                <a:cubicBezTo>
                  <a:pt x="381" y="225"/>
                  <a:pt x="374" y="233"/>
                  <a:pt x="361" y="234"/>
                </a:cubicBezTo>
                <a:cubicBezTo>
                  <a:pt x="355" y="238"/>
                  <a:pt x="355" y="238"/>
                  <a:pt x="355" y="238"/>
                </a:cubicBezTo>
                <a:cubicBezTo>
                  <a:pt x="354" y="238"/>
                  <a:pt x="352" y="238"/>
                  <a:pt x="354" y="238"/>
                </a:cubicBezTo>
                <a:cubicBezTo>
                  <a:pt x="347" y="241"/>
                  <a:pt x="347" y="241"/>
                  <a:pt x="347" y="241"/>
                </a:cubicBezTo>
                <a:cubicBezTo>
                  <a:pt x="334" y="247"/>
                  <a:pt x="343" y="240"/>
                  <a:pt x="338" y="241"/>
                </a:cubicBezTo>
                <a:cubicBezTo>
                  <a:pt x="339" y="241"/>
                  <a:pt x="339" y="241"/>
                  <a:pt x="339" y="241"/>
                </a:cubicBezTo>
                <a:cubicBezTo>
                  <a:pt x="335" y="242"/>
                  <a:pt x="331" y="242"/>
                  <a:pt x="334" y="241"/>
                </a:cubicBezTo>
                <a:cubicBezTo>
                  <a:pt x="330" y="243"/>
                  <a:pt x="325" y="245"/>
                  <a:pt x="321" y="247"/>
                </a:cubicBezTo>
                <a:cubicBezTo>
                  <a:pt x="321" y="247"/>
                  <a:pt x="321" y="247"/>
                  <a:pt x="321" y="247"/>
                </a:cubicBezTo>
                <a:cubicBezTo>
                  <a:pt x="318" y="249"/>
                  <a:pt x="312" y="251"/>
                  <a:pt x="306" y="254"/>
                </a:cubicBezTo>
                <a:cubicBezTo>
                  <a:pt x="301" y="256"/>
                  <a:pt x="296" y="258"/>
                  <a:pt x="296" y="260"/>
                </a:cubicBezTo>
                <a:cubicBezTo>
                  <a:pt x="292" y="261"/>
                  <a:pt x="289" y="261"/>
                  <a:pt x="291" y="260"/>
                </a:cubicBezTo>
                <a:cubicBezTo>
                  <a:pt x="280" y="262"/>
                  <a:pt x="293" y="257"/>
                  <a:pt x="275" y="261"/>
                </a:cubicBezTo>
                <a:cubicBezTo>
                  <a:pt x="275" y="260"/>
                  <a:pt x="277" y="260"/>
                  <a:pt x="280" y="259"/>
                </a:cubicBezTo>
                <a:cubicBezTo>
                  <a:pt x="275" y="260"/>
                  <a:pt x="274" y="260"/>
                  <a:pt x="273" y="261"/>
                </a:cubicBezTo>
                <a:cubicBezTo>
                  <a:pt x="273" y="261"/>
                  <a:pt x="272" y="260"/>
                  <a:pt x="271" y="260"/>
                </a:cubicBezTo>
                <a:cubicBezTo>
                  <a:pt x="271" y="261"/>
                  <a:pt x="264" y="262"/>
                  <a:pt x="260" y="263"/>
                </a:cubicBezTo>
                <a:cubicBezTo>
                  <a:pt x="266" y="259"/>
                  <a:pt x="266" y="259"/>
                  <a:pt x="266" y="259"/>
                </a:cubicBezTo>
                <a:cubicBezTo>
                  <a:pt x="262" y="261"/>
                  <a:pt x="260" y="262"/>
                  <a:pt x="252" y="262"/>
                </a:cubicBezTo>
                <a:cubicBezTo>
                  <a:pt x="257" y="260"/>
                  <a:pt x="257" y="260"/>
                  <a:pt x="257" y="260"/>
                </a:cubicBezTo>
                <a:cubicBezTo>
                  <a:pt x="245" y="262"/>
                  <a:pt x="256" y="264"/>
                  <a:pt x="242" y="264"/>
                </a:cubicBezTo>
                <a:cubicBezTo>
                  <a:pt x="246" y="264"/>
                  <a:pt x="251" y="264"/>
                  <a:pt x="255" y="264"/>
                </a:cubicBezTo>
                <a:cubicBezTo>
                  <a:pt x="240" y="266"/>
                  <a:pt x="245" y="268"/>
                  <a:pt x="239" y="271"/>
                </a:cubicBezTo>
                <a:cubicBezTo>
                  <a:pt x="223" y="275"/>
                  <a:pt x="203" y="271"/>
                  <a:pt x="190" y="276"/>
                </a:cubicBezTo>
                <a:cubicBezTo>
                  <a:pt x="188" y="274"/>
                  <a:pt x="190" y="274"/>
                  <a:pt x="186" y="272"/>
                </a:cubicBezTo>
                <a:cubicBezTo>
                  <a:pt x="196" y="272"/>
                  <a:pt x="201" y="271"/>
                  <a:pt x="206" y="269"/>
                </a:cubicBezTo>
                <a:cubicBezTo>
                  <a:pt x="225" y="266"/>
                  <a:pt x="211" y="274"/>
                  <a:pt x="233" y="269"/>
                </a:cubicBezTo>
                <a:cubicBezTo>
                  <a:pt x="231" y="268"/>
                  <a:pt x="225" y="268"/>
                  <a:pt x="219" y="269"/>
                </a:cubicBezTo>
                <a:cubicBezTo>
                  <a:pt x="218" y="268"/>
                  <a:pt x="225" y="266"/>
                  <a:pt x="230" y="265"/>
                </a:cubicBezTo>
                <a:cubicBezTo>
                  <a:pt x="218" y="267"/>
                  <a:pt x="200" y="266"/>
                  <a:pt x="192" y="266"/>
                </a:cubicBezTo>
                <a:cubicBezTo>
                  <a:pt x="189" y="267"/>
                  <a:pt x="179" y="268"/>
                  <a:pt x="175" y="267"/>
                </a:cubicBezTo>
                <a:cubicBezTo>
                  <a:pt x="175" y="269"/>
                  <a:pt x="156" y="269"/>
                  <a:pt x="162" y="271"/>
                </a:cubicBezTo>
                <a:cubicBezTo>
                  <a:pt x="148" y="271"/>
                  <a:pt x="153" y="268"/>
                  <a:pt x="140" y="270"/>
                </a:cubicBezTo>
                <a:cubicBezTo>
                  <a:pt x="145" y="268"/>
                  <a:pt x="132" y="267"/>
                  <a:pt x="138" y="266"/>
                </a:cubicBezTo>
                <a:cubicBezTo>
                  <a:pt x="142" y="268"/>
                  <a:pt x="156" y="266"/>
                  <a:pt x="163" y="265"/>
                </a:cubicBezTo>
                <a:cubicBezTo>
                  <a:pt x="157" y="264"/>
                  <a:pt x="150" y="264"/>
                  <a:pt x="144" y="263"/>
                </a:cubicBezTo>
                <a:cubicBezTo>
                  <a:pt x="149" y="264"/>
                  <a:pt x="142" y="265"/>
                  <a:pt x="139" y="265"/>
                </a:cubicBezTo>
                <a:cubicBezTo>
                  <a:pt x="137" y="263"/>
                  <a:pt x="137" y="263"/>
                  <a:pt x="137" y="263"/>
                </a:cubicBezTo>
                <a:cubicBezTo>
                  <a:pt x="135" y="265"/>
                  <a:pt x="127" y="263"/>
                  <a:pt x="118" y="261"/>
                </a:cubicBezTo>
                <a:cubicBezTo>
                  <a:pt x="109" y="260"/>
                  <a:pt x="99" y="257"/>
                  <a:pt x="94" y="259"/>
                </a:cubicBezTo>
                <a:cubicBezTo>
                  <a:pt x="100" y="260"/>
                  <a:pt x="105" y="262"/>
                  <a:pt x="108" y="260"/>
                </a:cubicBezTo>
                <a:cubicBezTo>
                  <a:pt x="119" y="263"/>
                  <a:pt x="105" y="263"/>
                  <a:pt x="110" y="265"/>
                </a:cubicBezTo>
                <a:cubicBezTo>
                  <a:pt x="101" y="265"/>
                  <a:pt x="90" y="263"/>
                  <a:pt x="80" y="260"/>
                </a:cubicBezTo>
                <a:cubicBezTo>
                  <a:pt x="69" y="257"/>
                  <a:pt x="58" y="254"/>
                  <a:pt x="49" y="251"/>
                </a:cubicBezTo>
                <a:cubicBezTo>
                  <a:pt x="53" y="251"/>
                  <a:pt x="61" y="255"/>
                  <a:pt x="62" y="253"/>
                </a:cubicBezTo>
                <a:cubicBezTo>
                  <a:pt x="56" y="250"/>
                  <a:pt x="49" y="248"/>
                  <a:pt x="42" y="245"/>
                </a:cubicBezTo>
                <a:cubicBezTo>
                  <a:pt x="34" y="241"/>
                  <a:pt x="27" y="237"/>
                  <a:pt x="22" y="231"/>
                </a:cubicBezTo>
                <a:cubicBezTo>
                  <a:pt x="23" y="231"/>
                  <a:pt x="24" y="231"/>
                  <a:pt x="25" y="232"/>
                </a:cubicBezTo>
                <a:cubicBezTo>
                  <a:pt x="21" y="227"/>
                  <a:pt x="20" y="226"/>
                  <a:pt x="20" y="224"/>
                </a:cubicBezTo>
                <a:cubicBezTo>
                  <a:pt x="20" y="223"/>
                  <a:pt x="19" y="221"/>
                  <a:pt x="17" y="215"/>
                </a:cubicBezTo>
                <a:cubicBezTo>
                  <a:pt x="17" y="215"/>
                  <a:pt x="17" y="217"/>
                  <a:pt x="16" y="214"/>
                </a:cubicBezTo>
                <a:cubicBezTo>
                  <a:pt x="15" y="208"/>
                  <a:pt x="15" y="208"/>
                  <a:pt x="16" y="208"/>
                </a:cubicBezTo>
                <a:cubicBezTo>
                  <a:pt x="16" y="208"/>
                  <a:pt x="17" y="209"/>
                  <a:pt x="17" y="205"/>
                </a:cubicBezTo>
                <a:cubicBezTo>
                  <a:pt x="15" y="198"/>
                  <a:pt x="16" y="196"/>
                  <a:pt x="17" y="194"/>
                </a:cubicBezTo>
                <a:cubicBezTo>
                  <a:pt x="18" y="192"/>
                  <a:pt x="18" y="189"/>
                  <a:pt x="20" y="180"/>
                </a:cubicBezTo>
                <a:cubicBezTo>
                  <a:pt x="20" y="182"/>
                  <a:pt x="20" y="182"/>
                  <a:pt x="20" y="182"/>
                </a:cubicBezTo>
                <a:cubicBezTo>
                  <a:pt x="21" y="175"/>
                  <a:pt x="24" y="167"/>
                  <a:pt x="29" y="160"/>
                </a:cubicBezTo>
                <a:cubicBezTo>
                  <a:pt x="33" y="153"/>
                  <a:pt x="39" y="146"/>
                  <a:pt x="43" y="140"/>
                </a:cubicBezTo>
                <a:cubicBezTo>
                  <a:pt x="42" y="140"/>
                  <a:pt x="36" y="150"/>
                  <a:pt x="35" y="148"/>
                </a:cubicBezTo>
                <a:cubicBezTo>
                  <a:pt x="38" y="142"/>
                  <a:pt x="42" y="137"/>
                  <a:pt x="46" y="132"/>
                </a:cubicBezTo>
                <a:cubicBezTo>
                  <a:pt x="47" y="131"/>
                  <a:pt x="53" y="125"/>
                  <a:pt x="50" y="130"/>
                </a:cubicBezTo>
                <a:cubicBezTo>
                  <a:pt x="49" y="132"/>
                  <a:pt x="47" y="134"/>
                  <a:pt x="46" y="135"/>
                </a:cubicBezTo>
                <a:cubicBezTo>
                  <a:pt x="48" y="134"/>
                  <a:pt x="48" y="134"/>
                  <a:pt x="48" y="134"/>
                </a:cubicBezTo>
                <a:cubicBezTo>
                  <a:pt x="59" y="119"/>
                  <a:pt x="45" y="132"/>
                  <a:pt x="43" y="131"/>
                </a:cubicBezTo>
                <a:cubicBezTo>
                  <a:pt x="50" y="124"/>
                  <a:pt x="51" y="120"/>
                  <a:pt x="56" y="115"/>
                </a:cubicBezTo>
                <a:cubicBezTo>
                  <a:pt x="59" y="114"/>
                  <a:pt x="49" y="126"/>
                  <a:pt x="56" y="121"/>
                </a:cubicBezTo>
                <a:cubicBezTo>
                  <a:pt x="58" y="119"/>
                  <a:pt x="62" y="115"/>
                  <a:pt x="67" y="110"/>
                </a:cubicBezTo>
                <a:cubicBezTo>
                  <a:pt x="71" y="105"/>
                  <a:pt x="75" y="100"/>
                  <a:pt x="77" y="97"/>
                </a:cubicBezTo>
                <a:cubicBezTo>
                  <a:pt x="82" y="96"/>
                  <a:pt x="90" y="90"/>
                  <a:pt x="97" y="85"/>
                </a:cubicBezTo>
                <a:cubicBezTo>
                  <a:pt x="104" y="80"/>
                  <a:pt x="110" y="76"/>
                  <a:pt x="111" y="77"/>
                </a:cubicBezTo>
                <a:cubicBezTo>
                  <a:pt x="110" y="77"/>
                  <a:pt x="112" y="74"/>
                  <a:pt x="116" y="72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127" y="69"/>
                  <a:pt x="124" y="65"/>
                  <a:pt x="132" y="61"/>
                </a:cubicBezTo>
                <a:cubicBezTo>
                  <a:pt x="132" y="62"/>
                  <a:pt x="130" y="64"/>
                  <a:pt x="129" y="65"/>
                </a:cubicBezTo>
                <a:cubicBezTo>
                  <a:pt x="146" y="57"/>
                  <a:pt x="153" y="48"/>
                  <a:pt x="171" y="43"/>
                </a:cubicBezTo>
                <a:cubicBezTo>
                  <a:pt x="171" y="44"/>
                  <a:pt x="170" y="44"/>
                  <a:pt x="168" y="45"/>
                </a:cubicBezTo>
                <a:cubicBezTo>
                  <a:pt x="168" y="46"/>
                  <a:pt x="171" y="44"/>
                  <a:pt x="176" y="41"/>
                </a:cubicBezTo>
                <a:cubicBezTo>
                  <a:pt x="170" y="42"/>
                  <a:pt x="170" y="42"/>
                  <a:pt x="170" y="42"/>
                </a:cubicBezTo>
                <a:cubicBezTo>
                  <a:pt x="177" y="35"/>
                  <a:pt x="195" y="35"/>
                  <a:pt x="209" y="30"/>
                </a:cubicBezTo>
                <a:cubicBezTo>
                  <a:pt x="208" y="31"/>
                  <a:pt x="197" y="35"/>
                  <a:pt x="203" y="34"/>
                </a:cubicBezTo>
                <a:cubicBezTo>
                  <a:pt x="213" y="31"/>
                  <a:pt x="211" y="27"/>
                  <a:pt x="223" y="27"/>
                </a:cubicBezTo>
                <a:cubicBezTo>
                  <a:pt x="218" y="28"/>
                  <a:pt x="220" y="30"/>
                  <a:pt x="215" y="32"/>
                </a:cubicBezTo>
                <a:cubicBezTo>
                  <a:pt x="223" y="30"/>
                  <a:pt x="228" y="30"/>
                  <a:pt x="230" y="28"/>
                </a:cubicBezTo>
                <a:cubicBezTo>
                  <a:pt x="233" y="28"/>
                  <a:pt x="234" y="28"/>
                  <a:pt x="234" y="28"/>
                </a:cubicBezTo>
                <a:cubicBezTo>
                  <a:pt x="238" y="26"/>
                  <a:pt x="246" y="26"/>
                  <a:pt x="251" y="25"/>
                </a:cubicBezTo>
                <a:cubicBezTo>
                  <a:pt x="250" y="26"/>
                  <a:pt x="250" y="26"/>
                  <a:pt x="250" y="26"/>
                </a:cubicBezTo>
                <a:cubicBezTo>
                  <a:pt x="259" y="20"/>
                  <a:pt x="266" y="23"/>
                  <a:pt x="278" y="21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82" y="21"/>
                  <a:pt x="290" y="19"/>
                  <a:pt x="299" y="20"/>
                </a:cubicBezTo>
                <a:cubicBezTo>
                  <a:pt x="294" y="22"/>
                  <a:pt x="294" y="22"/>
                  <a:pt x="294" y="22"/>
                </a:cubicBezTo>
                <a:cubicBezTo>
                  <a:pt x="302" y="20"/>
                  <a:pt x="315" y="21"/>
                  <a:pt x="321" y="19"/>
                </a:cubicBezTo>
                <a:cubicBezTo>
                  <a:pt x="324" y="19"/>
                  <a:pt x="315" y="22"/>
                  <a:pt x="327" y="21"/>
                </a:cubicBezTo>
                <a:cubicBezTo>
                  <a:pt x="329" y="20"/>
                  <a:pt x="339" y="19"/>
                  <a:pt x="342" y="20"/>
                </a:cubicBezTo>
                <a:cubicBezTo>
                  <a:pt x="342" y="21"/>
                  <a:pt x="340" y="22"/>
                  <a:pt x="337" y="21"/>
                </a:cubicBezTo>
                <a:cubicBezTo>
                  <a:pt x="335" y="21"/>
                  <a:pt x="336" y="21"/>
                  <a:pt x="337" y="20"/>
                </a:cubicBezTo>
                <a:cubicBezTo>
                  <a:pt x="333" y="22"/>
                  <a:pt x="333" y="22"/>
                  <a:pt x="333" y="22"/>
                </a:cubicBezTo>
                <a:cubicBezTo>
                  <a:pt x="342" y="22"/>
                  <a:pt x="341" y="20"/>
                  <a:pt x="350" y="21"/>
                </a:cubicBezTo>
                <a:cubicBezTo>
                  <a:pt x="352" y="22"/>
                  <a:pt x="347" y="22"/>
                  <a:pt x="346" y="23"/>
                </a:cubicBezTo>
                <a:cubicBezTo>
                  <a:pt x="358" y="22"/>
                  <a:pt x="370" y="21"/>
                  <a:pt x="382" y="21"/>
                </a:cubicBezTo>
                <a:cubicBezTo>
                  <a:pt x="383" y="20"/>
                  <a:pt x="378" y="19"/>
                  <a:pt x="382" y="18"/>
                </a:cubicBezTo>
                <a:cubicBezTo>
                  <a:pt x="369" y="17"/>
                  <a:pt x="369" y="17"/>
                  <a:pt x="369" y="17"/>
                </a:cubicBezTo>
                <a:cubicBezTo>
                  <a:pt x="363" y="15"/>
                  <a:pt x="376" y="15"/>
                  <a:pt x="381" y="15"/>
                </a:cubicBezTo>
                <a:cubicBezTo>
                  <a:pt x="373" y="14"/>
                  <a:pt x="373" y="14"/>
                  <a:pt x="373" y="14"/>
                </a:cubicBezTo>
                <a:cubicBezTo>
                  <a:pt x="372" y="14"/>
                  <a:pt x="373" y="14"/>
                  <a:pt x="373" y="14"/>
                </a:cubicBezTo>
                <a:cubicBezTo>
                  <a:pt x="367" y="14"/>
                  <a:pt x="367" y="14"/>
                  <a:pt x="367" y="14"/>
                </a:cubicBezTo>
                <a:cubicBezTo>
                  <a:pt x="384" y="11"/>
                  <a:pt x="349" y="10"/>
                  <a:pt x="368" y="9"/>
                </a:cubicBezTo>
                <a:cubicBezTo>
                  <a:pt x="363" y="9"/>
                  <a:pt x="358" y="10"/>
                  <a:pt x="355" y="11"/>
                </a:cubicBezTo>
                <a:cubicBezTo>
                  <a:pt x="346" y="11"/>
                  <a:pt x="348" y="10"/>
                  <a:pt x="345" y="10"/>
                </a:cubicBezTo>
                <a:cubicBezTo>
                  <a:pt x="358" y="8"/>
                  <a:pt x="358" y="8"/>
                  <a:pt x="358" y="8"/>
                </a:cubicBezTo>
                <a:cubicBezTo>
                  <a:pt x="338" y="9"/>
                  <a:pt x="360" y="6"/>
                  <a:pt x="345" y="5"/>
                </a:cubicBezTo>
                <a:cubicBezTo>
                  <a:pt x="328" y="7"/>
                  <a:pt x="318" y="2"/>
                  <a:pt x="309" y="2"/>
                </a:cubicBezTo>
                <a:cubicBezTo>
                  <a:pt x="292" y="4"/>
                  <a:pt x="316" y="4"/>
                  <a:pt x="305" y="6"/>
                </a:cubicBezTo>
                <a:cubicBezTo>
                  <a:pt x="296" y="7"/>
                  <a:pt x="301" y="5"/>
                  <a:pt x="295" y="5"/>
                </a:cubicBezTo>
                <a:cubicBezTo>
                  <a:pt x="291" y="8"/>
                  <a:pt x="291" y="8"/>
                  <a:pt x="291" y="8"/>
                </a:cubicBezTo>
                <a:cubicBezTo>
                  <a:pt x="280" y="9"/>
                  <a:pt x="290" y="6"/>
                  <a:pt x="284" y="7"/>
                </a:cubicBezTo>
                <a:cubicBezTo>
                  <a:pt x="275" y="7"/>
                  <a:pt x="286" y="6"/>
                  <a:pt x="288" y="4"/>
                </a:cubicBezTo>
                <a:cubicBezTo>
                  <a:pt x="286" y="5"/>
                  <a:pt x="277" y="7"/>
                  <a:pt x="273" y="6"/>
                </a:cubicBezTo>
                <a:cubicBezTo>
                  <a:pt x="273" y="6"/>
                  <a:pt x="284" y="4"/>
                  <a:pt x="277" y="5"/>
                </a:cubicBezTo>
                <a:cubicBezTo>
                  <a:pt x="263" y="7"/>
                  <a:pt x="255" y="8"/>
                  <a:pt x="247" y="9"/>
                </a:cubicBezTo>
                <a:cubicBezTo>
                  <a:pt x="239" y="10"/>
                  <a:pt x="231" y="11"/>
                  <a:pt x="219" y="14"/>
                </a:cubicBezTo>
                <a:cubicBezTo>
                  <a:pt x="221" y="12"/>
                  <a:pt x="221" y="12"/>
                  <a:pt x="221" y="12"/>
                </a:cubicBezTo>
                <a:cubicBezTo>
                  <a:pt x="218" y="13"/>
                  <a:pt x="216" y="14"/>
                  <a:pt x="213" y="15"/>
                </a:cubicBezTo>
                <a:cubicBezTo>
                  <a:pt x="215" y="13"/>
                  <a:pt x="215" y="13"/>
                  <a:pt x="215" y="13"/>
                </a:cubicBezTo>
                <a:cubicBezTo>
                  <a:pt x="213" y="14"/>
                  <a:pt x="206" y="16"/>
                  <a:pt x="198" y="19"/>
                </a:cubicBezTo>
                <a:cubicBezTo>
                  <a:pt x="172" y="28"/>
                  <a:pt x="172" y="28"/>
                  <a:pt x="172" y="28"/>
                </a:cubicBezTo>
                <a:cubicBezTo>
                  <a:pt x="179" y="23"/>
                  <a:pt x="179" y="23"/>
                  <a:pt x="179" y="23"/>
                </a:cubicBezTo>
                <a:cubicBezTo>
                  <a:pt x="175" y="26"/>
                  <a:pt x="170" y="28"/>
                  <a:pt x="166" y="30"/>
                </a:cubicBezTo>
                <a:cubicBezTo>
                  <a:pt x="167" y="27"/>
                  <a:pt x="167" y="27"/>
                  <a:pt x="167" y="27"/>
                </a:cubicBezTo>
                <a:cubicBezTo>
                  <a:pt x="163" y="31"/>
                  <a:pt x="146" y="36"/>
                  <a:pt x="134" y="43"/>
                </a:cubicBezTo>
                <a:cubicBezTo>
                  <a:pt x="134" y="42"/>
                  <a:pt x="134" y="42"/>
                  <a:pt x="134" y="42"/>
                </a:cubicBezTo>
                <a:cubicBezTo>
                  <a:pt x="131" y="43"/>
                  <a:pt x="129" y="45"/>
                  <a:pt x="126" y="46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21" y="48"/>
                  <a:pt x="113" y="55"/>
                  <a:pt x="105" y="59"/>
                </a:cubicBezTo>
                <a:cubicBezTo>
                  <a:pt x="110" y="56"/>
                  <a:pt x="110" y="54"/>
                  <a:pt x="109" y="53"/>
                </a:cubicBezTo>
                <a:close/>
                <a:moveTo>
                  <a:pt x="136" y="282"/>
                </a:moveTo>
                <a:cubicBezTo>
                  <a:pt x="140" y="282"/>
                  <a:pt x="140" y="282"/>
                  <a:pt x="140" y="282"/>
                </a:cubicBezTo>
                <a:cubicBezTo>
                  <a:pt x="138" y="282"/>
                  <a:pt x="137" y="282"/>
                  <a:pt x="136" y="282"/>
                </a:cubicBezTo>
                <a:cubicBezTo>
                  <a:pt x="130" y="282"/>
                  <a:pt x="130" y="282"/>
                  <a:pt x="130" y="282"/>
                </a:cubicBezTo>
                <a:cubicBezTo>
                  <a:pt x="131" y="281"/>
                  <a:pt x="133" y="282"/>
                  <a:pt x="136" y="282"/>
                </a:cubicBezTo>
                <a:close/>
                <a:moveTo>
                  <a:pt x="345" y="25"/>
                </a:moveTo>
                <a:cubicBezTo>
                  <a:pt x="348" y="27"/>
                  <a:pt x="351" y="28"/>
                  <a:pt x="354" y="29"/>
                </a:cubicBezTo>
                <a:cubicBezTo>
                  <a:pt x="352" y="28"/>
                  <a:pt x="346" y="26"/>
                  <a:pt x="349" y="26"/>
                </a:cubicBezTo>
                <a:cubicBezTo>
                  <a:pt x="347" y="26"/>
                  <a:pt x="344" y="24"/>
                  <a:pt x="345" y="25"/>
                </a:cubicBezTo>
                <a:close/>
                <a:moveTo>
                  <a:pt x="124" y="268"/>
                </a:moveTo>
                <a:cubicBezTo>
                  <a:pt x="129" y="267"/>
                  <a:pt x="129" y="267"/>
                  <a:pt x="129" y="267"/>
                </a:cubicBezTo>
                <a:cubicBezTo>
                  <a:pt x="132" y="269"/>
                  <a:pt x="132" y="269"/>
                  <a:pt x="132" y="269"/>
                </a:cubicBezTo>
                <a:lnTo>
                  <a:pt x="124" y="268"/>
                </a:lnTo>
                <a:close/>
                <a:moveTo>
                  <a:pt x="52" y="251"/>
                </a:moveTo>
                <a:cubicBezTo>
                  <a:pt x="55" y="251"/>
                  <a:pt x="57" y="252"/>
                  <a:pt x="60" y="253"/>
                </a:cubicBezTo>
                <a:cubicBezTo>
                  <a:pt x="61" y="253"/>
                  <a:pt x="61" y="253"/>
                  <a:pt x="61" y="253"/>
                </a:cubicBezTo>
                <a:cubicBezTo>
                  <a:pt x="58" y="253"/>
                  <a:pt x="55" y="252"/>
                  <a:pt x="53" y="251"/>
                </a:cubicBezTo>
                <a:lnTo>
                  <a:pt x="52" y="251"/>
                </a:lnTo>
                <a:close/>
                <a:moveTo>
                  <a:pt x="12" y="163"/>
                </a:moveTo>
                <a:cubicBezTo>
                  <a:pt x="12" y="169"/>
                  <a:pt x="9" y="170"/>
                  <a:pt x="8" y="177"/>
                </a:cubicBezTo>
                <a:cubicBezTo>
                  <a:pt x="8" y="178"/>
                  <a:pt x="8" y="178"/>
                  <a:pt x="8" y="179"/>
                </a:cubicBezTo>
                <a:cubicBezTo>
                  <a:pt x="8" y="178"/>
                  <a:pt x="8" y="178"/>
                  <a:pt x="8" y="177"/>
                </a:cubicBezTo>
                <a:cubicBezTo>
                  <a:pt x="8" y="173"/>
                  <a:pt x="7" y="168"/>
                  <a:pt x="12" y="163"/>
                </a:cubicBezTo>
                <a:close/>
                <a:moveTo>
                  <a:pt x="117" y="278"/>
                </a:moveTo>
                <a:cubicBezTo>
                  <a:pt x="117" y="279"/>
                  <a:pt x="107" y="278"/>
                  <a:pt x="104" y="278"/>
                </a:cubicBezTo>
                <a:cubicBezTo>
                  <a:pt x="100" y="278"/>
                  <a:pt x="106" y="277"/>
                  <a:pt x="107" y="277"/>
                </a:cubicBezTo>
                <a:cubicBezTo>
                  <a:pt x="105" y="276"/>
                  <a:pt x="104" y="276"/>
                  <a:pt x="101" y="276"/>
                </a:cubicBezTo>
                <a:cubicBezTo>
                  <a:pt x="103" y="273"/>
                  <a:pt x="109" y="278"/>
                  <a:pt x="117" y="278"/>
                </a:cubicBezTo>
                <a:close/>
                <a:moveTo>
                  <a:pt x="301" y="267"/>
                </a:moveTo>
                <a:cubicBezTo>
                  <a:pt x="294" y="270"/>
                  <a:pt x="294" y="270"/>
                  <a:pt x="294" y="270"/>
                </a:cubicBezTo>
                <a:cubicBezTo>
                  <a:pt x="296" y="269"/>
                  <a:pt x="296" y="269"/>
                  <a:pt x="296" y="269"/>
                </a:cubicBezTo>
                <a:lnTo>
                  <a:pt x="301" y="267"/>
                </a:lnTo>
                <a:close/>
                <a:moveTo>
                  <a:pt x="338" y="257"/>
                </a:moveTo>
                <a:cubicBezTo>
                  <a:pt x="347" y="254"/>
                  <a:pt x="353" y="250"/>
                  <a:pt x="351" y="249"/>
                </a:cubicBezTo>
                <a:cubicBezTo>
                  <a:pt x="344" y="252"/>
                  <a:pt x="334" y="255"/>
                  <a:pt x="330" y="258"/>
                </a:cubicBezTo>
                <a:cubicBezTo>
                  <a:pt x="334" y="256"/>
                  <a:pt x="329" y="262"/>
                  <a:pt x="338" y="257"/>
                </a:cubicBezTo>
                <a:close/>
                <a:moveTo>
                  <a:pt x="36" y="250"/>
                </a:moveTo>
                <a:cubicBezTo>
                  <a:pt x="33" y="248"/>
                  <a:pt x="29" y="246"/>
                  <a:pt x="27" y="244"/>
                </a:cubicBezTo>
                <a:cubicBezTo>
                  <a:pt x="31" y="248"/>
                  <a:pt x="40" y="250"/>
                  <a:pt x="49" y="256"/>
                </a:cubicBezTo>
                <a:cubicBezTo>
                  <a:pt x="46" y="255"/>
                  <a:pt x="43" y="254"/>
                  <a:pt x="41" y="253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0" y="254"/>
                  <a:pt x="40" y="254"/>
                  <a:pt x="40" y="254"/>
                </a:cubicBezTo>
                <a:cubicBezTo>
                  <a:pt x="42" y="253"/>
                  <a:pt x="39" y="252"/>
                  <a:pt x="36" y="250"/>
                </a:cubicBezTo>
                <a:close/>
                <a:moveTo>
                  <a:pt x="405" y="226"/>
                </a:moveTo>
                <a:cubicBezTo>
                  <a:pt x="407" y="225"/>
                  <a:pt x="410" y="222"/>
                  <a:pt x="412" y="220"/>
                </a:cubicBezTo>
                <a:cubicBezTo>
                  <a:pt x="414" y="218"/>
                  <a:pt x="416" y="215"/>
                  <a:pt x="415" y="215"/>
                </a:cubicBezTo>
                <a:cubicBezTo>
                  <a:pt x="416" y="215"/>
                  <a:pt x="414" y="217"/>
                  <a:pt x="411" y="220"/>
                </a:cubicBezTo>
                <a:cubicBezTo>
                  <a:pt x="407" y="223"/>
                  <a:pt x="403" y="227"/>
                  <a:pt x="400" y="229"/>
                </a:cubicBezTo>
                <a:cubicBezTo>
                  <a:pt x="402" y="227"/>
                  <a:pt x="403" y="227"/>
                  <a:pt x="405" y="226"/>
                </a:cubicBezTo>
                <a:close/>
                <a:moveTo>
                  <a:pt x="401" y="226"/>
                </a:moveTo>
                <a:cubicBezTo>
                  <a:pt x="397" y="227"/>
                  <a:pt x="398" y="226"/>
                  <a:pt x="391" y="230"/>
                </a:cubicBezTo>
                <a:cubicBezTo>
                  <a:pt x="393" y="230"/>
                  <a:pt x="392" y="235"/>
                  <a:pt x="381" y="238"/>
                </a:cubicBezTo>
                <a:cubicBezTo>
                  <a:pt x="388" y="233"/>
                  <a:pt x="388" y="232"/>
                  <a:pt x="398" y="225"/>
                </a:cubicBezTo>
                <a:lnTo>
                  <a:pt x="401" y="226"/>
                </a:lnTo>
                <a:close/>
                <a:moveTo>
                  <a:pt x="386" y="238"/>
                </a:moveTo>
                <a:cubicBezTo>
                  <a:pt x="382" y="240"/>
                  <a:pt x="377" y="241"/>
                  <a:pt x="373" y="243"/>
                </a:cubicBezTo>
                <a:cubicBezTo>
                  <a:pt x="379" y="237"/>
                  <a:pt x="381" y="239"/>
                  <a:pt x="386" y="238"/>
                </a:cubicBezTo>
                <a:cubicBezTo>
                  <a:pt x="390" y="237"/>
                  <a:pt x="390" y="237"/>
                  <a:pt x="390" y="237"/>
                </a:cubicBezTo>
                <a:cubicBezTo>
                  <a:pt x="389" y="237"/>
                  <a:pt x="387" y="238"/>
                  <a:pt x="386" y="238"/>
                </a:cubicBezTo>
                <a:close/>
                <a:moveTo>
                  <a:pt x="453" y="169"/>
                </a:moveTo>
                <a:cubicBezTo>
                  <a:pt x="452" y="169"/>
                  <a:pt x="453" y="168"/>
                  <a:pt x="454" y="163"/>
                </a:cubicBezTo>
                <a:cubicBezTo>
                  <a:pt x="454" y="164"/>
                  <a:pt x="454" y="165"/>
                  <a:pt x="454" y="167"/>
                </a:cubicBezTo>
                <a:cubicBezTo>
                  <a:pt x="455" y="166"/>
                  <a:pt x="455" y="167"/>
                  <a:pt x="454" y="172"/>
                </a:cubicBezTo>
                <a:cubicBezTo>
                  <a:pt x="454" y="170"/>
                  <a:pt x="454" y="169"/>
                  <a:pt x="454" y="167"/>
                </a:cubicBezTo>
                <a:cubicBezTo>
                  <a:pt x="454" y="167"/>
                  <a:pt x="453" y="169"/>
                  <a:pt x="453" y="169"/>
                </a:cubicBezTo>
                <a:close/>
                <a:moveTo>
                  <a:pt x="398" y="232"/>
                </a:moveTo>
                <a:cubicBezTo>
                  <a:pt x="402" y="230"/>
                  <a:pt x="406" y="227"/>
                  <a:pt x="410" y="225"/>
                </a:cubicBezTo>
                <a:cubicBezTo>
                  <a:pt x="406" y="227"/>
                  <a:pt x="398" y="231"/>
                  <a:pt x="398" y="232"/>
                </a:cubicBezTo>
                <a:close/>
                <a:moveTo>
                  <a:pt x="448" y="179"/>
                </a:moveTo>
                <a:cubicBezTo>
                  <a:pt x="447" y="183"/>
                  <a:pt x="444" y="186"/>
                  <a:pt x="444" y="186"/>
                </a:cubicBezTo>
                <a:cubicBezTo>
                  <a:pt x="443" y="187"/>
                  <a:pt x="445" y="184"/>
                  <a:pt x="447" y="181"/>
                </a:cubicBezTo>
                <a:cubicBezTo>
                  <a:pt x="449" y="177"/>
                  <a:pt x="450" y="172"/>
                  <a:pt x="451" y="169"/>
                </a:cubicBezTo>
                <a:cubicBezTo>
                  <a:pt x="451" y="171"/>
                  <a:pt x="450" y="175"/>
                  <a:pt x="448" y="179"/>
                </a:cubicBezTo>
                <a:close/>
                <a:moveTo>
                  <a:pt x="253" y="5"/>
                </a:moveTo>
                <a:cubicBezTo>
                  <a:pt x="257" y="7"/>
                  <a:pt x="257" y="7"/>
                  <a:pt x="257" y="7"/>
                </a:cubicBezTo>
                <a:cubicBezTo>
                  <a:pt x="249" y="6"/>
                  <a:pt x="249" y="6"/>
                  <a:pt x="249" y="6"/>
                </a:cubicBezTo>
                <a:lnTo>
                  <a:pt x="253" y="5"/>
                </a:lnTo>
                <a:close/>
                <a:moveTo>
                  <a:pt x="335" y="26"/>
                </a:moveTo>
                <a:cubicBezTo>
                  <a:pt x="336" y="27"/>
                  <a:pt x="338" y="27"/>
                  <a:pt x="339" y="28"/>
                </a:cubicBezTo>
                <a:cubicBezTo>
                  <a:pt x="341" y="29"/>
                  <a:pt x="341" y="29"/>
                  <a:pt x="341" y="29"/>
                </a:cubicBezTo>
                <a:cubicBezTo>
                  <a:pt x="339" y="28"/>
                  <a:pt x="337" y="27"/>
                  <a:pt x="335" y="26"/>
                </a:cubicBezTo>
                <a:close/>
                <a:moveTo>
                  <a:pt x="415" y="80"/>
                </a:moveTo>
                <a:cubicBezTo>
                  <a:pt x="413" y="79"/>
                  <a:pt x="413" y="78"/>
                  <a:pt x="413" y="78"/>
                </a:cubicBezTo>
                <a:cubicBezTo>
                  <a:pt x="409" y="72"/>
                  <a:pt x="396" y="60"/>
                  <a:pt x="388" y="55"/>
                </a:cubicBezTo>
                <a:cubicBezTo>
                  <a:pt x="386" y="52"/>
                  <a:pt x="396" y="58"/>
                  <a:pt x="399" y="59"/>
                </a:cubicBezTo>
                <a:cubicBezTo>
                  <a:pt x="395" y="60"/>
                  <a:pt x="398" y="62"/>
                  <a:pt x="402" y="65"/>
                </a:cubicBezTo>
                <a:cubicBezTo>
                  <a:pt x="406" y="67"/>
                  <a:pt x="412" y="71"/>
                  <a:pt x="414" y="75"/>
                </a:cubicBezTo>
                <a:cubicBezTo>
                  <a:pt x="412" y="74"/>
                  <a:pt x="408" y="70"/>
                  <a:pt x="406" y="69"/>
                </a:cubicBezTo>
                <a:cubicBezTo>
                  <a:pt x="408" y="71"/>
                  <a:pt x="412" y="75"/>
                  <a:pt x="414" y="77"/>
                </a:cubicBezTo>
                <a:cubicBezTo>
                  <a:pt x="415" y="78"/>
                  <a:pt x="416" y="78"/>
                  <a:pt x="417" y="79"/>
                </a:cubicBezTo>
                <a:cubicBezTo>
                  <a:pt x="416" y="79"/>
                  <a:pt x="415" y="78"/>
                  <a:pt x="414" y="77"/>
                </a:cubicBezTo>
                <a:cubicBezTo>
                  <a:pt x="413" y="77"/>
                  <a:pt x="413" y="77"/>
                  <a:pt x="413" y="78"/>
                </a:cubicBezTo>
                <a:cubicBezTo>
                  <a:pt x="414" y="79"/>
                  <a:pt x="414" y="80"/>
                  <a:pt x="415" y="80"/>
                </a:cubicBezTo>
                <a:close/>
                <a:moveTo>
                  <a:pt x="437" y="188"/>
                </a:moveTo>
                <a:cubicBezTo>
                  <a:pt x="436" y="190"/>
                  <a:pt x="439" y="186"/>
                  <a:pt x="436" y="193"/>
                </a:cubicBezTo>
                <a:cubicBezTo>
                  <a:pt x="435" y="193"/>
                  <a:pt x="436" y="191"/>
                  <a:pt x="437" y="188"/>
                </a:cubicBezTo>
                <a:cubicBezTo>
                  <a:pt x="437" y="187"/>
                  <a:pt x="438" y="186"/>
                  <a:pt x="439" y="183"/>
                </a:cubicBezTo>
                <a:cubicBezTo>
                  <a:pt x="438" y="185"/>
                  <a:pt x="438" y="186"/>
                  <a:pt x="437" y="188"/>
                </a:cubicBezTo>
                <a:close/>
                <a:moveTo>
                  <a:pt x="437" y="181"/>
                </a:moveTo>
                <a:cubicBezTo>
                  <a:pt x="436" y="186"/>
                  <a:pt x="433" y="191"/>
                  <a:pt x="430" y="196"/>
                </a:cubicBezTo>
                <a:cubicBezTo>
                  <a:pt x="431" y="194"/>
                  <a:pt x="432" y="192"/>
                  <a:pt x="433" y="191"/>
                </a:cubicBezTo>
                <a:cubicBezTo>
                  <a:pt x="431" y="194"/>
                  <a:pt x="429" y="197"/>
                  <a:pt x="427" y="200"/>
                </a:cubicBezTo>
                <a:cubicBezTo>
                  <a:pt x="427" y="198"/>
                  <a:pt x="432" y="189"/>
                  <a:pt x="437" y="181"/>
                </a:cubicBezTo>
                <a:close/>
                <a:moveTo>
                  <a:pt x="411" y="214"/>
                </a:moveTo>
                <a:cubicBezTo>
                  <a:pt x="416" y="210"/>
                  <a:pt x="420" y="206"/>
                  <a:pt x="424" y="201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4" y="201"/>
                  <a:pt x="424" y="201"/>
                  <a:pt x="424" y="201"/>
                </a:cubicBezTo>
                <a:cubicBezTo>
                  <a:pt x="424" y="202"/>
                  <a:pt x="423" y="203"/>
                  <a:pt x="423" y="204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0" y="206"/>
                  <a:pt x="415" y="210"/>
                  <a:pt x="411" y="214"/>
                </a:cubicBezTo>
                <a:close/>
                <a:moveTo>
                  <a:pt x="273" y="268"/>
                </a:moveTo>
                <a:cubicBezTo>
                  <a:pt x="265" y="269"/>
                  <a:pt x="265" y="269"/>
                  <a:pt x="265" y="269"/>
                </a:cubicBezTo>
                <a:cubicBezTo>
                  <a:pt x="266" y="269"/>
                  <a:pt x="275" y="266"/>
                  <a:pt x="282" y="265"/>
                </a:cubicBezTo>
                <a:cubicBezTo>
                  <a:pt x="272" y="263"/>
                  <a:pt x="279" y="266"/>
                  <a:pt x="263" y="267"/>
                </a:cubicBezTo>
                <a:cubicBezTo>
                  <a:pt x="281" y="264"/>
                  <a:pt x="274" y="263"/>
                  <a:pt x="273" y="262"/>
                </a:cubicBezTo>
                <a:cubicBezTo>
                  <a:pt x="271" y="263"/>
                  <a:pt x="265" y="265"/>
                  <a:pt x="259" y="266"/>
                </a:cubicBezTo>
                <a:cubicBezTo>
                  <a:pt x="254" y="267"/>
                  <a:pt x="250" y="268"/>
                  <a:pt x="254" y="270"/>
                </a:cubicBezTo>
                <a:cubicBezTo>
                  <a:pt x="260" y="269"/>
                  <a:pt x="269" y="271"/>
                  <a:pt x="273" y="268"/>
                </a:cubicBezTo>
                <a:close/>
                <a:moveTo>
                  <a:pt x="160" y="273"/>
                </a:moveTo>
                <a:cubicBezTo>
                  <a:pt x="149" y="273"/>
                  <a:pt x="149" y="273"/>
                  <a:pt x="149" y="273"/>
                </a:cubicBezTo>
                <a:cubicBezTo>
                  <a:pt x="161" y="273"/>
                  <a:pt x="161" y="273"/>
                  <a:pt x="161" y="273"/>
                </a:cubicBezTo>
                <a:lnTo>
                  <a:pt x="160" y="273"/>
                </a:lnTo>
                <a:close/>
                <a:moveTo>
                  <a:pt x="71" y="103"/>
                </a:moveTo>
                <a:cubicBezTo>
                  <a:pt x="70" y="106"/>
                  <a:pt x="58" y="115"/>
                  <a:pt x="58" y="114"/>
                </a:cubicBezTo>
                <a:cubicBezTo>
                  <a:pt x="60" y="113"/>
                  <a:pt x="66" y="107"/>
                  <a:pt x="71" y="103"/>
                </a:cubicBezTo>
                <a:close/>
                <a:moveTo>
                  <a:pt x="162" y="45"/>
                </a:moveTo>
                <a:cubicBezTo>
                  <a:pt x="156" y="47"/>
                  <a:pt x="149" y="53"/>
                  <a:pt x="146" y="52"/>
                </a:cubicBezTo>
                <a:cubicBezTo>
                  <a:pt x="149" y="50"/>
                  <a:pt x="153" y="48"/>
                  <a:pt x="157" y="46"/>
                </a:cubicBezTo>
                <a:cubicBezTo>
                  <a:pt x="159" y="46"/>
                  <a:pt x="163" y="44"/>
                  <a:pt x="162" y="45"/>
                </a:cubicBezTo>
                <a:close/>
                <a:moveTo>
                  <a:pt x="237" y="24"/>
                </a:moveTo>
                <a:cubicBezTo>
                  <a:pt x="240" y="21"/>
                  <a:pt x="240" y="21"/>
                  <a:pt x="240" y="21"/>
                </a:cubicBezTo>
                <a:cubicBezTo>
                  <a:pt x="236" y="22"/>
                  <a:pt x="236" y="22"/>
                  <a:pt x="236" y="22"/>
                </a:cubicBezTo>
                <a:lnTo>
                  <a:pt x="237" y="24"/>
                </a:lnTo>
                <a:close/>
                <a:moveTo>
                  <a:pt x="224" y="29"/>
                </a:moveTo>
                <a:cubicBezTo>
                  <a:pt x="226" y="29"/>
                  <a:pt x="234" y="27"/>
                  <a:pt x="232" y="26"/>
                </a:cubicBezTo>
                <a:lnTo>
                  <a:pt x="224" y="29"/>
                </a:lnTo>
                <a:close/>
                <a:moveTo>
                  <a:pt x="305" y="15"/>
                </a:moveTo>
                <a:cubicBezTo>
                  <a:pt x="300" y="18"/>
                  <a:pt x="300" y="18"/>
                  <a:pt x="300" y="18"/>
                </a:cubicBezTo>
                <a:cubicBezTo>
                  <a:pt x="305" y="17"/>
                  <a:pt x="305" y="17"/>
                  <a:pt x="305" y="17"/>
                </a:cubicBezTo>
                <a:lnTo>
                  <a:pt x="305" y="15"/>
                </a:lnTo>
                <a:close/>
                <a:moveTo>
                  <a:pt x="299" y="14"/>
                </a:moveTo>
                <a:cubicBezTo>
                  <a:pt x="298" y="14"/>
                  <a:pt x="297" y="15"/>
                  <a:pt x="297" y="16"/>
                </a:cubicBezTo>
                <a:cubicBezTo>
                  <a:pt x="294" y="16"/>
                  <a:pt x="289" y="17"/>
                  <a:pt x="285" y="17"/>
                </a:cubicBezTo>
                <a:cubicBezTo>
                  <a:pt x="285" y="16"/>
                  <a:pt x="289" y="16"/>
                  <a:pt x="291" y="16"/>
                </a:cubicBezTo>
                <a:cubicBezTo>
                  <a:pt x="289" y="16"/>
                  <a:pt x="286" y="15"/>
                  <a:pt x="282" y="16"/>
                </a:cubicBezTo>
                <a:cubicBezTo>
                  <a:pt x="287" y="18"/>
                  <a:pt x="284" y="18"/>
                  <a:pt x="284" y="20"/>
                </a:cubicBezTo>
                <a:cubicBezTo>
                  <a:pt x="296" y="19"/>
                  <a:pt x="296" y="17"/>
                  <a:pt x="297" y="16"/>
                </a:cubicBezTo>
                <a:cubicBezTo>
                  <a:pt x="298" y="15"/>
                  <a:pt x="299" y="14"/>
                  <a:pt x="299" y="14"/>
                </a:cubicBezTo>
                <a:close/>
                <a:moveTo>
                  <a:pt x="256" y="19"/>
                </a:moveTo>
                <a:cubicBezTo>
                  <a:pt x="258" y="19"/>
                  <a:pt x="258" y="19"/>
                  <a:pt x="259" y="19"/>
                </a:cubicBezTo>
                <a:cubicBezTo>
                  <a:pt x="266" y="19"/>
                  <a:pt x="274" y="18"/>
                  <a:pt x="266" y="21"/>
                </a:cubicBezTo>
                <a:cubicBezTo>
                  <a:pt x="259" y="22"/>
                  <a:pt x="259" y="22"/>
                  <a:pt x="259" y="22"/>
                </a:cubicBezTo>
                <a:cubicBezTo>
                  <a:pt x="262" y="22"/>
                  <a:pt x="262" y="21"/>
                  <a:pt x="262" y="21"/>
                </a:cubicBezTo>
                <a:cubicBezTo>
                  <a:pt x="257" y="21"/>
                  <a:pt x="254" y="23"/>
                  <a:pt x="250" y="24"/>
                </a:cubicBezTo>
                <a:cubicBezTo>
                  <a:pt x="252" y="23"/>
                  <a:pt x="260" y="21"/>
                  <a:pt x="259" y="19"/>
                </a:cubicBezTo>
                <a:cubicBezTo>
                  <a:pt x="253" y="20"/>
                  <a:pt x="253" y="20"/>
                  <a:pt x="253" y="20"/>
                </a:cubicBezTo>
                <a:cubicBezTo>
                  <a:pt x="251" y="20"/>
                  <a:pt x="250" y="21"/>
                  <a:pt x="248" y="20"/>
                </a:cubicBezTo>
                <a:cubicBezTo>
                  <a:pt x="249" y="20"/>
                  <a:pt x="249" y="20"/>
                  <a:pt x="249" y="20"/>
                </a:cubicBezTo>
                <a:cubicBezTo>
                  <a:pt x="250" y="20"/>
                  <a:pt x="251" y="20"/>
                  <a:pt x="253" y="20"/>
                </a:cubicBezTo>
                <a:cubicBezTo>
                  <a:pt x="254" y="19"/>
                  <a:pt x="255" y="19"/>
                  <a:pt x="256" y="19"/>
                </a:cubicBezTo>
                <a:close/>
                <a:moveTo>
                  <a:pt x="305" y="12"/>
                </a:moveTo>
                <a:cubicBezTo>
                  <a:pt x="306" y="11"/>
                  <a:pt x="305" y="11"/>
                  <a:pt x="307" y="10"/>
                </a:cubicBezTo>
                <a:cubicBezTo>
                  <a:pt x="311" y="10"/>
                  <a:pt x="311" y="10"/>
                  <a:pt x="311" y="10"/>
                </a:cubicBezTo>
                <a:cubicBezTo>
                  <a:pt x="316" y="10"/>
                  <a:pt x="310" y="11"/>
                  <a:pt x="305" y="12"/>
                </a:cubicBezTo>
                <a:close/>
                <a:moveTo>
                  <a:pt x="92" y="83"/>
                </a:moveTo>
                <a:cubicBezTo>
                  <a:pt x="91" y="84"/>
                  <a:pt x="81" y="92"/>
                  <a:pt x="82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3" y="90"/>
                  <a:pt x="87" y="85"/>
                  <a:pt x="85" y="86"/>
                </a:cubicBezTo>
                <a:cubicBezTo>
                  <a:pt x="89" y="84"/>
                  <a:pt x="93" y="81"/>
                  <a:pt x="92" y="83"/>
                </a:cubicBezTo>
                <a:close/>
                <a:moveTo>
                  <a:pt x="142" y="272"/>
                </a:moveTo>
                <a:cubicBezTo>
                  <a:pt x="139" y="272"/>
                  <a:pt x="123" y="269"/>
                  <a:pt x="121" y="272"/>
                </a:cubicBezTo>
                <a:cubicBezTo>
                  <a:pt x="116" y="268"/>
                  <a:pt x="134" y="271"/>
                  <a:pt x="142" y="272"/>
                </a:cubicBezTo>
                <a:close/>
                <a:moveTo>
                  <a:pt x="144" y="275"/>
                </a:moveTo>
                <a:cubicBezTo>
                  <a:pt x="145" y="275"/>
                  <a:pt x="146" y="275"/>
                  <a:pt x="148" y="275"/>
                </a:cubicBezTo>
                <a:cubicBezTo>
                  <a:pt x="152" y="275"/>
                  <a:pt x="152" y="273"/>
                  <a:pt x="160" y="274"/>
                </a:cubicBezTo>
                <a:cubicBezTo>
                  <a:pt x="158" y="275"/>
                  <a:pt x="155" y="274"/>
                  <a:pt x="153" y="274"/>
                </a:cubicBezTo>
                <a:cubicBezTo>
                  <a:pt x="153" y="276"/>
                  <a:pt x="152" y="275"/>
                  <a:pt x="148" y="275"/>
                </a:cubicBezTo>
                <a:cubicBezTo>
                  <a:pt x="146" y="275"/>
                  <a:pt x="145" y="275"/>
                  <a:pt x="144" y="275"/>
                </a:cubicBezTo>
                <a:close/>
                <a:moveTo>
                  <a:pt x="9" y="190"/>
                </a:moveTo>
                <a:cubicBezTo>
                  <a:pt x="9" y="193"/>
                  <a:pt x="9" y="196"/>
                  <a:pt x="9" y="199"/>
                </a:cubicBezTo>
                <a:cubicBezTo>
                  <a:pt x="9" y="201"/>
                  <a:pt x="10" y="203"/>
                  <a:pt x="11" y="205"/>
                </a:cubicBezTo>
                <a:cubicBezTo>
                  <a:pt x="10" y="200"/>
                  <a:pt x="9" y="195"/>
                  <a:pt x="9" y="190"/>
                </a:cubicBezTo>
                <a:close/>
                <a:moveTo>
                  <a:pt x="48" y="114"/>
                </a:moveTo>
                <a:cubicBezTo>
                  <a:pt x="46" y="116"/>
                  <a:pt x="45" y="117"/>
                  <a:pt x="43" y="119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18"/>
                  <a:pt x="47" y="117"/>
                  <a:pt x="46" y="119"/>
                </a:cubicBezTo>
                <a:cubicBezTo>
                  <a:pt x="45" y="120"/>
                  <a:pt x="44" y="121"/>
                  <a:pt x="44" y="122"/>
                </a:cubicBezTo>
                <a:cubicBezTo>
                  <a:pt x="45" y="121"/>
                  <a:pt x="46" y="120"/>
                  <a:pt x="46" y="119"/>
                </a:cubicBezTo>
                <a:cubicBezTo>
                  <a:pt x="49" y="115"/>
                  <a:pt x="54" y="110"/>
                  <a:pt x="54" y="109"/>
                </a:cubicBezTo>
                <a:cubicBezTo>
                  <a:pt x="52" y="111"/>
                  <a:pt x="46" y="118"/>
                  <a:pt x="45" y="117"/>
                </a:cubicBezTo>
                <a:lnTo>
                  <a:pt x="48" y="114"/>
                </a:lnTo>
                <a:close/>
                <a:moveTo>
                  <a:pt x="196" y="24"/>
                </a:moveTo>
                <a:cubicBezTo>
                  <a:pt x="192" y="25"/>
                  <a:pt x="191" y="26"/>
                  <a:pt x="185" y="26"/>
                </a:cubicBezTo>
                <a:cubicBezTo>
                  <a:pt x="189" y="25"/>
                  <a:pt x="194" y="23"/>
                  <a:pt x="196" y="24"/>
                </a:cubicBezTo>
                <a:close/>
                <a:moveTo>
                  <a:pt x="20" y="148"/>
                </a:moveTo>
                <a:cubicBezTo>
                  <a:pt x="21" y="149"/>
                  <a:pt x="16" y="157"/>
                  <a:pt x="19" y="155"/>
                </a:cubicBezTo>
                <a:cubicBezTo>
                  <a:pt x="21" y="151"/>
                  <a:pt x="21" y="151"/>
                  <a:pt x="21" y="151"/>
                </a:cubicBezTo>
                <a:cubicBezTo>
                  <a:pt x="18" y="157"/>
                  <a:pt x="21" y="156"/>
                  <a:pt x="16" y="163"/>
                </a:cubicBezTo>
                <a:cubicBezTo>
                  <a:pt x="17" y="162"/>
                  <a:pt x="18" y="160"/>
                  <a:pt x="19" y="158"/>
                </a:cubicBezTo>
                <a:cubicBezTo>
                  <a:pt x="15" y="164"/>
                  <a:pt x="21" y="150"/>
                  <a:pt x="15" y="159"/>
                </a:cubicBezTo>
                <a:cubicBezTo>
                  <a:pt x="13" y="163"/>
                  <a:pt x="17" y="152"/>
                  <a:pt x="20" y="148"/>
                </a:cubicBezTo>
                <a:close/>
                <a:moveTo>
                  <a:pt x="208" y="17"/>
                </a:moveTo>
                <a:cubicBezTo>
                  <a:pt x="202" y="19"/>
                  <a:pt x="204" y="21"/>
                  <a:pt x="194" y="23"/>
                </a:cubicBezTo>
                <a:cubicBezTo>
                  <a:pt x="201" y="20"/>
                  <a:pt x="199" y="18"/>
                  <a:pt x="208" y="17"/>
                </a:cubicBezTo>
                <a:close/>
                <a:moveTo>
                  <a:pt x="57" y="96"/>
                </a:moveTo>
                <a:cubicBezTo>
                  <a:pt x="56" y="97"/>
                  <a:pt x="56" y="97"/>
                  <a:pt x="56" y="97"/>
                </a:cubicBezTo>
                <a:cubicBezTo>
                  <a:pt x="50" y="103"/>
                  <a:pt x="50" y="103"/>
                  <a:pt x="50" y="103"/>
                </a:cubicBezTo>
                <a:cubicBezTo>
                  <a:pt x="51" y="103"/>
                  <a:pt x="51" y="103"/>
                  <a:pt x="51" y="103"/>
                </a:cubicBezTo>
                <a:lnTo>
                  <a:pt x="57" y="96"/>
                </a:lnTo>
                <a:close/>
                <a:moveTo>
                  <a:pt x="210" y="33"/>
                </a:moveTo>
                <a:cubicBezTo>
                  <a:pt x="212" y="33"/>
                  <a:pt x="214" y="32"/>
                  <a:pt x="215" y="32"/>
                </a:cubicBezTo>
                <a:cubicBezTo>
                  <a:pt x="213" y="32"/>
                  <a:pt x="212" y="32"/>
                  <a:pt x="210" y="33"/>
                </a:cubicBezTo>
                <a:close/>
                <a:moveTo>
                  <a:pt x="172" y="266"/>
                </a:moveTo>
                <a:cubicBezTo>
                  <a:pt x="173" y="267"/>
                  <a:pt x="173" y="267"/>
                  <a:pt x="175" y="267"/>
                </a:cubicBezTo>
                <a:cubicBezTo>
                  <a:pt x="174" y="267"/>
                  <a:pt x="174" y="267"/>
                  <a:pt x="172" y="266"/>
                </a:cubicBezTo>
                <a:close/>
                <a:moveTo>
                  <a:pt x="192" y="266"/>
                </a:moveTo>
                <a:cubicBezTo>
                  <a:pt x="192" y="266"/>
                  <a:pt x="192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lnTo>
                  <a:pt x="192" y="266"/>
                </a:lnTo>
                <a:close/>
                <a:moveTo>
                  <a:pt x="142" y="15"/>
                </a:moveTo>
                <a:cubicBezTo>
                  <a:pt x="139" y="18"/>
                  <a:pt x="146" y="15"/>
                  <a:pt x="150" y="14"/>
                </a:cubicBezTo>
                <a:cubicBezTo>
                  <a:pt x="146" y="15"/>
                  <a:pt x="145" y="14"/>
                  <a:pt x="142" y="15"/>
                </a:cubicBezTo>
                <a:close/>
                <a:moveTo>
                  <a:pt x="168" y="9"/>
                </a:moveTo>
                <a:cubicBezTo>
                  <a:pt x="166" y="10"/>
                  <a:pt x="163" y="10"/>
                  <a:pt x="160" y="11"/>
                </a:cubicBezTo>
                <a:cubicBezTo>
                  <a:pt x="162" y="11"/>
                  <a:pt x="165" y="10"/>
                  <a:pt x="168" y="9"/>
                </a:cubicBezTo>
                <a:close/>
                <a:moveTo>
                  <a:pt x="147" y="12"/>
                </a:moveTo>
                <a:cubicBezTo>
                  <a:pt x="152" y="12"/>
                  <a:pt x="156" y="11"/>
                  <a:pt x="160" y="11"/>
                </a:cubicBezTo>
                <a:cubicBezTo>
                  <a:pt x="157" y="11"/>
                  <a:pt x="154" y="11"/>
                  <a:pt x="147" y="12"/>
                </a:cubicBezTo>
                <a:close/>
                <a:moveTo>
                  <a:pt x="239" y="8"/>
                </a:moveTo>
                <a:cubicBezTo>
                  <a:pt x="235" y="9"/>
                  <a:pt x="227" y="8"/>
                  <a:pt x="227" y="8"/>
                </a:cubicBezTo>
                <a:cubicBezTo>
                  <a:pt x="244" y="10"/>
                  <a:pt x="223" y="10"/>
                  <a:pt x="222" y="11"/>
                </a:cubicBezTo>
                <a:cubicBezTo>
                  <a:pt x="233" y="11"/>
                  <a:pt x="233" y="9"/>
                  <a:pt x="239" y="8"/>
                </a:cubicBezTo>
                <a:close/>
                <a:moveTo>
                  <a:pt x="262" y="10"/>
                </a:moveTo>
                <a:cubicBezTo>
                  <a:pt x="260" y="10"/>
                  <a:pt x="259" y="9"/>
                  <a:pt x="257" y="9"/>
                </a:cubicBezTo>
                <a:cubicBezTo>
                  <a:pt x="259" y="9"/>
                  <a:pt x="261" y="10"/>
                  <a:pt x="262" y="10"/>
                </a:cubicBezTo>
                <a:close/>
                <a:moveTo>
                  <a:pt x="268" y="12"/>
                </a:moveTo>
                <a:cubicBezTo>
                  <a:pt x="274" y="12"/>
                  <a:pt x="277" y="12"/>
                  <a:pt x="280" y="11"/>
                </a:cubicBezTo>
                <a:cubicBezTo>
                  <a:pt x="272" y="9"/>
                  <a:pt x="268" y="10"/>
                  <a:pt x="262" y="10"/>
                </a:cubicBezTo>
                <a:cubicBezTo>
                  <a:pt x="266" y="10"/>
                  <a:pt x="271" y="11"/>
                  <a:pt x="268" y="12"/>
                </a:cubicBezTo>
                <a:close/>
                <a:moveTo>
                  <a:pt x="422" y="101"/>
                </a:moveTo>
                <a:cubicBezTo>
                  <a:pt x="421" y="100"/>
                  <a:pt x="420" y="97"/>
                  <a:pt x="419" y="98"/>
                </a:cubicBezTo>
                <a:cubicBezTo>
                  <a:pt x="421" y="100"/>
                  <a:pt x="423" y="103"/>
                  <a:pt x="425" y="105"/>
                </a:cubicBezTo>
                <a:cubicBezTo>
                  <a:pt x="427" y="108"/>
                  <a:pt x="423" y="102"/>
                  <a:pt x="422" y="101"/>
                </a:cubicBezTo>
                <a:close/>
                <a:moveTo>
                  <a:pt x="442" y="130"/>
                </a:moveTo>
                <a:cubicBezTo>
                  <a:pt x="444" y="137"/>
                  <a:pt x="441" y="134"/>
                  <a:pt x="443" y="138"/>
                </a:cubicBezTo>
                <a:cubicBezTo>
                  <a:pt x="445" y="137"/>
                  <a:pt x="445" y="137"/>
                  <a:pt x="445" y="137"/>
                </a:cubicBezTo>
                <a:cubicBezTo>
                  <a:pt x="444" y="134"/>
                  <a:pt x="443" y="132"/>
                  <a:pt x="442" y="130"/>
                </a:cubicBezTo>
                <a:close/>
                <a:moveTo>
                  <a:pt x="452" y="122"/>
                </a:moveTo>
                <a:cubicBezTo>
                  <a:pt x="450" y="120"/>
                  <a:pt x="450" y="120"/>
                  <a:pt x="450" y="120"/>
                </a:cubicBezTo>
                <a:cubicBezTo>
                  <a:pt x="452" y="122"/>
                  <a:pt x="452" y="122"/>
                  <a:pt x="452" y="122"/>
                </a:cubicBezTo>
                <a:close/>
                <a:moveTo>
                  <a:pt x="441" y="165"/>
                </a:moveTo>
                <a:cubicBezTo>
                  <a:pt x="440" y="163"/>
                  <a:pt x="440" y="162"/>
                  <a:pt x="439" y="160"/>
                </a:cubicBezTo>
                <a:cubicBezTo>
                  <a:pt x="439" y="166"/>
                  <a:pt x="440" y="166"/>
                  <a:pt x="441" y="165"/>
                </a:cubicBezTo>
                <a:close/>
                <a:moveTo>
                  <a:pt x="426" y="189"/>
                </a:moveTo>
                <a:cubicBezTo>
                  <a:pt x="427" y="188"/>
                  <a:pt x="427" y="187"/>
                  <a:pt x="428" y="185"/>
                </a:cubicBezTo>
                <a:cubicBezTo>
                  <a:pt x="426" y="189"/>
                  <a:pt x="423" y="193"/>
                  <a:pt x="420" y="196"/>
                </a:cubicBezTo>
                <a:cubicBezTo>
                  <a:pt x="422" y="194"/>
                  <a:pt x="424" y="192"/>
                  <a:pt x="426" y="189"/>
                </a:cubicBezTo>
                <a:close/>
                <a:moveTo>
                  <a:pt x="402" y="214"/>
                </a:moveTo>
                <a:cubicBezTo>
                  <a:pt x="400" y="214"/>
                  <a:pt x="400" y="214"/>
                  <a:pt x="400" y="214"/>
                </a:cubicBezTo>
                <a:cubicBezTo>
                  <a:pt x="398" y="216"/>
                  <a:pt x="395" y="218"/>
                  <a:pt x="393" y="220"/>
                </a:cubicBezTo>
                <a:cubicBezTo>
                  <a:pt x="396" y="218"/>
                  <a:pt x="399" y="216"/>
                  <a:pt x="402" y="214"/>
                </a:cubicBezTo>
                <a:close/>
                <a:moveTo>
                  <a:pt x="26" y="228"/>
                </a:moveTo>
                <a:cubicBezTo>
                  <a:pt x="25" y="228"/>
                  <a:pt x="26" y="231"/>
                  <a:pt x="29" y="234"/>
                </a:cubicBezTo>
                <a:cubicBezTo>
                  <a:pt x="32" y="237"/>
                  <a:pt x="36" y="240"/>
                  <a:pt x="37" y="242"/>
                </a:cubicBezTo>
                <a:cubicBezTo>
                  <a:pt x="37" y="240"/>
                  <a:pt x="34" y="238"/>
                  <a:pt x="32" y="236"/>
                </a:cubicBezTo>
                <a:cubicBezTo>
                  <a:pt x="29" y="234"/>
                  <a:pt x="26" y="231"/>
                  <a:pt x="26" y="228"/>
                </a:cubicBezTo>
                <a:close/>
                <a:moveTo>
                  <a:pt x="196" y="36"/>
                </a:moveTo>
                <a:cubicBezTo>
                  <a:pt x="191" y="38"/>
                  <a:pt x="187" y="39"/>
                  <a:pt x="182" y="41"/>
                </a:cubicBezTo>
                <a:cubicBezTo>
                  <a:pt x="193" y="38"/>
                  <a:pt x="185" y="40"/>
                  <a:pt x="196" y="36"/>
                </a:cubicBezTo>
                <a:close/>
              </a:path>
            </a:pathLst>
          </a:custGeom>
          <a:solidFill>
            <a:srgbClr val="FEA30D"/>
          </a:solidFill>
          <a:ln>
            <a:solidFill>
              <a:srgbClr val="FEA30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14">
            <a:extLst>
              <a:ext uri="{FF2B5EF4-FFF2-40B4-BE49-F238E27FC236}">
                <a16:creationId xmlns:a16="http://schemas.microsoft.com/office/drawing/2014/main" id="{327DD469-64AB-1E71-B91E-DA84D95161DD}"/>
              </a:ext>
            </a:extLst>
          </p:cNvPr>
          <p:cNvSpPr>
            <a:spLocks noEditPoints="1"/>
          </p:cNvSpPr>
          <p:nvPr/>
        </p:nvSpPr>
        <p:spPr bwMode="auto">
          <a:xfrm>
            <a:off x="5597816" y="3429000"/>
            <a:ext cx="846116" cy="350806"/>
          </a:xfrm>
          <a:custGeom>
            <a:avLst/>
            <a:gdLst>
              <a:gd name="T0" fmla="*/ 124 w 458"/>
              <a:gd name="T1" fmla="*/ 13 h 288"/>
              <a:gd name="T2" fmla="*/ 343 w 458"/>
              <a:gd name="T3" fmla="*/ 240 h 288"/>
              <a:gd name="T4" fmla="*/ 292 w 458"/>
              <a:gd name="T5" fmla="*/ 271 h 288"/>
              <a:gd name="T6" fmla="*/ 291 w 458"/>
              <a:gd name="T7" fmla="*/ 260 h 288"/>
              <a:gd name="T8" fmla="*/ 141 w 458"/>
              <a:gd name="T9" fmla="*/ 12 h 288"/>
              <a:gd name="T10" fmla="*/ 85 w 458"/>
              <a:gd name="T11" fmla="*/ 70 h 288"/>
              <a:gd name="T12" fmla="*/ 6 w 458"/>
              <a:gd name="T13" fmla="*/ 224 h 288"/>
              <a:gd name="T14" fmla="*/ 71 w 458"/>
              <a:gd name="T15" fmla="*/ 273 h 288"/>
              <a:gd name="T16" fmla="*/ 191 w 458"/>
              <a:gd name="T17" fmla="*/ 286 h 288"/>
              <a:gd name="T18" fmla="*/ 292 w 458"/>
              <a:gd name="T19" fmla="*/ 271 h 288"/>
              <a:gd name="T20" fmla="*/ 415 w 458"/>
              <a:gd name="T21" fmla="*/ 222 h 288"/>
              <a:gd name="T22" fmla="*/ 450 w 458"/>
              <a:gd name="T23" fmla="*/ 120 h 288"/>
              <a:gd name="T24" fmla="*/ 307 w 458"/>
              <a:gd name="T25" fmla="*/ 12 h 288"/>
              <a:gd name="T26" fmla="*/ 145 w 458"/>
              <a:gd name="T27" fmla="*/ 7 h 288"/>
              <a:gd name="T28" fmla="*/ 141 w 458"/>
              <a:gd name="T29" fmla="*/ 11 h 288"/>
              <a:gd name="T30" fmla="*/ 134 w 458"/>
              <a:gd name="T31" fmla="*/ 13 h 288"/>
              <a:gd name="T32" fmla="*/ 223 w 458"/>
              <a:gd name="T33" fmla="*/ 2 h 288"/>
              <a:gd name="T34" fmla="*/ 349 w 458"/>
              <a:gd name="T35" fmla="*/ 36 h 288"/>
              <a:gd name="T36" fmla="*/ 424 w 458"/>
              <a:gd name="T37" fmla="*/ 98 h 288"/>
              <a:gd name="T38" fmla="*/ 430 w 458"/>
              <a:gd name="T39" fmla="*/ 104 h 288"/>
              <a:gd name="T40" fmla="*/ 436 w 458"/>
              <a:gd name="T41" fmla="*/ 174 h 288"/>
              <a:gd name="T42" fmla="*/ 394 w 458"/>
              <a:gd name="T43" fmla="*/ 220 h 288"/>
              <a:gd name="T44" fmla="*/ 306 w 458"/>
              <a:gd name="T45" fmla="*/ 254 h 288"/>
              <a:gd name="T46" fmla="*/ 257 w 458"/>
              <a:gd name="T47" fmla="*/ 260 h 288"/>
              <a:gd name="T48" fmla="*/ 192 w 458"/>
              <a:gd name="T49" fmla="*/ 266 h 288"/>
              <a:gd name="T50" fmla="*/ 94 w 458"/>
              <a:gd name="T51" fmla="*/ 259 h 288"/>
              <a:gd name="T52" fmla="*/ 17 w 458"/>
              <a:gd name="T53" fmla="*/ 215 h 288"/>
              <a:gd name="T54" fmla="*/ 46 w 458"/>
              <a:gd name="T55" fmla="*/ 132 h 288"/>
              <a:gd name="T56" fmla="*/ 111 w 458"/>
              <a:gd name="T57" fmla="*/ 77 h 288"/>
              <a:gd name="T58" fmla="*/ 203 w 458"/>
              <a:gd name="T59" fmla="*/ 34 h 288"/>
              <a:gd name="T60" fmla="*/ 294 w 458"/>
              <a:gd name="T61" fmla="*/ 22 h 288"/>
              <a:gd name="T62" fmla="*/ 382 w 458"/>
              <a:gd name="T63" fmla="*/ 18 h 288"/>
              <a:gd name="T64" fmla="*/ 345 w 458"/>
              <a:gd name="T65" fmla="*/ 5 h 288"/>
              <a:gd name="T66" fmla="*/ 219 w 458"/>
              <a:gd name="T67" fmla="*/ 14 h 288"/>
              <a:gd name="T68" fmla="*/ 134 w 458"/>
              <a:gd name="T69" fmla="*/ 42 h 288"/>
              <a:gd name="T70" fmla="*/ 345 w 458"/>
              <a:gd name="T71" fmla="*/ 25 h 288"/>
              <a:gd name="T72" fmla="*/ 61 w 458"/>
              <a:gd name="T73" fmla="*/ 253 h 288"/>
              <a:gd name="T74" fmla="*/ 107 w 458"/>
              <a:gd name="T75" fmla="*/ 277 h 288"/>
              <a:gd name="T76" fmla="*/ 338 w 458"/>
              <a:gd name="T77" fmla="*/ 257 h 288"/>
              <a:gd name="T78" fmla="*/ 415 w 458"/>
              <a:gd name="T79" fmla="*/ 215 h 288"/>
              <a:gd name="T80" fmla="*/ 373 w 458"/>
              <a:gd name="T81" fmla="*/ 243 h 288"/>
              <a:gd name="T82" fmla="*/ 398 w 458"/>
              <a:gd name="T83" fmla="*/ 232 h 288"/>
              <a:gd name="T84" fmla="*/ 249 w 458"/>
              <a:gd name="T85" fmla="*/ 6 h 288"/>
              <a:gd name="T86" fmla="*/ 402 w 458"/>
              <a:gd name="T87" fmla="*/ 65 h 288"/>
              <a:gd name="T88" fmla="*/ 437 w 458"/>
              <a:gd name="T89" fmla="*/ 188 h 288"/>
              <a:gd name="T90" fmla="*/ 424 w 458"/>
              <a:gd name="T91" fmla="*/ 202 h 288"/>
              <a:gd name="T92" fmla="*/ 259 w 458"/>
              <a:gd name="T93" fmla="*/ 266 h 288"/>
              <a:gd name="T94" fmla="*/ 162 w 458"/>
              <a:gd name="T95" fmla="*/ 45 h 288"/>
              <a:gd name="T96" fmla="*/ 224 w 458"/>
              <a:gd name="T97" fmla="*/ 29 h 288"/>
              <a:gd name="T98" fmla="*/ 284 w 458"/>
              <a:gd name="T99" fmla="*/ 20 h 288"/>
              <a:gd name="T100" fmla="*/ 253 w 458"/>
              <a:gd name="T101" fmla="*/ 20 h 288"/>
              <a:gd name="T102" fmla="*/ 82 w 458"/>
              <a:gd name="T103" fmla="*/ 93 h 288"/>
              <a:gd name="T104" fmla="*/ 153 w 458"/>
              <a:gd name="T105" fmla="*/ 274 h 288"/>
              <a:gd name="T106" fmla="*/ 46 w 458"/>
              <a:gd name="T107" fmla="*/ 119 h 288"/>
              <a:gd name="T108" fmla="*/ 19 w 458"/>
              <a:gd name="T109" fmla="*/ 155 h 288"/>
              <a:gd name="T110" fmla="*/ 56 w 458"/>
              <a:gd name="T111" fmla="*/ 97 h 288"/>
              <a:gd name="T112" fmla="*/ 192 w 458"/>
              <a:gd name="T113" fmla="*/ 266 h 288"/>
              <a:gd name="T114" fmla="*/ 147 w 458"/>
              <a:gd name="T115" fmla="*/ 12 h 288"/>
              <a:gd name="T116" fmla="*/ 268 w 458"/>
              <a:gd name="T117" fmla="*/ 12 h 288"/>
              <a:gd name="T118" fmla="*/ 445 w 458"/>
              <a:gd name="T119" fmla="*/ 137 h 288"/>
              <a:gd name="T120" fmla="*/ 420 w 458"/>
              <a:gd name="T121" fmla="*/ 196 h 288"/>
              <a:gd name="T122" fmla="*/ 26 w 458"/>
              <a:gd name="T123" fmla="*/ 22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8" h="288">
                <a:moveTo>
                  <a:pt x="125" y="15"/>
                </a:moveTo>
                <a:cubicBezTo>
                  <a:pt x="125" y="15"/>
                  <a:pt x="125" y="15"/>
                  <a:pt x="125" y="15"/>
                </a:cubicBezTo>
                <a:cubicBezTo>
                  <a:pt x="125" y="15"/>
                  <a:pt x="125" y="15"/>
                  <a:pt x="125" y="15"/>
                </a:cubicBezTo>
                <a:close/>
                <a:moveTo>
                  <a:pt x="122" y="17"/>
                </a:moveTo>
                <a:cubicBezTo>
                  <a:pt x="123" y="17"/>
                  <a:pt x="124" y="16"/>
                  <a:pt x="125" y="15"/>
                </a:cubicBezTo>
                <a:cubicBezTo>
                  <a:pt x="124" y="15"/>
                  <a:pt x="122" y="14"/>
                  <a:pt x="122" y="17"/>
                </a:cubicBezTo>
                <a:close/>
                <a:moveTo>
                  <a:pt x="124" y="11"/>
                </a:moveTo>
                <a:cubicBezTo>
                  <a:pt x="123" y="12"/>
                  <a:pt x="123" y="12"/>
                  <a:pt x="123" y="12"/>
                </a:cubicBezTo>
                <a:cubicBezTo>
                  <a:pt x="124" y="12"/>
                  <a:pt x="124" y="11"/>
                  <a:pt x="124" y="11"/>
                </a:cubicBezTo>
                <a:close/>
                <a:moveTo>
                  <a:pt x="124" y="13"/>
                </a:moveTo>
                <a:cubicBezTo>
                  <a:pt x="125" y="14"/>
                  <a:pt x="125" y="14"/>
                  <a:pt x="125" y="14"/>
                </a:cubicBezTo>
                <a:cubicBezTo>
                  <a:pt x="125" y="13"/>
                  <a:pt x="125" y="13"/>
                  <a:pt x="125" y="13"/>
                </a:cubicBezTo>
                <a:lnTo>
                  <a:pt x="124" y="13"/>
                </a:lnTo>
                <a:close/>
                <a:moveTo>
                  <a:pt x="321" y="247"/>
                </a:moveTo>
                <a:cubicBezTo>
                  <a:pt x="322" y="246"/>
                  <a:pt x="322" y="246"/>
                  <a:pt x="321" y="245"/>
                </a:cubicBezTo>
                <a:lnTo>
                  <a:pt x="321" y="247"/>
                </a:lnTo>
                <a:close/>
                <a:moveTo>
                  <a:pt x="296" y="258"/>
                </a:moveTo>
                <a:cubicBezTo>
                  <a:pt x="294" y="259"/>
                  <a:pt x="293" y="259"/>
                  <a:pt x="291" y="260"/>
                </a:cubicBezTo>
                <a:cubicBezTo>
                  <a:pt x="293" y="259"/>
                  <a:pt x="294" y="259"/>
                  <a:pt x="296" y="258"/>
                </a:cubicBezTo>
                <a:close/>
                <a:moveTo>
                  <a:pt x="343" y="240"/>
                </a:moveTo>
                <a:cubicBezTo>
                  <a:pt x="339" y="241"/>
                  <a:pt x="339" y="241"/>
                  <a:pt x="339" y="241"/>
                </a:cubicBezTo>
                <a:cubicBezTo>
                  <a:pt x="340" y="241"/>
                  <a:pt x="342" y="240"/>
                  <a:pt x="343" y="240"/>
                </a:cubicBezTo>
                <a:close/>
                <a:moveTo>
                  <a:pt x="362" y="45"/>
                </a:moveTo>
                <a:cubicBezTo>
                  <a:pt x="358" y="43"/>
                  <a:pt x="354" y="42"/>
                  <a:pt x="351" y="41"/>
                </a:cubicBezTo>
                <a:cubicBezTo>
                  <a:pt x="358" y="45"/>
                  <a:pt x="360" y="44"/>
                  <a:pt x="362" y="45"/>
                </a:cubicBezTo>
                <a:close/>
                <a:moveTo>
                  <a:pt x="176" y="284"/>
                </a:moveTo>
                <a:cubicBezTo>
                  <a:pt x="175" y="284"/>
                  <a:pt x="175" y="284"/>
                  <a:pt x="175" y="284"/>
                </a:cubicBezTo>
                <a:cubicBezTo>
                  <a:pt x="173" y="284"/>
                  <a:pt x="173" y="284"/>
                  <a:pt x="176" y="284"/>
                </a:cubicBezTo>
                <a:close/>
                <a:moveTo>
                  <a:pt x="293" y="272"/>
                </a:moveTo>
                <a:cubicBezTo>
                  <a:pt x="293" y="272"/>
                  <a:pt x="293" y="271"/>
                  <a:pt x="292" y="271"/>
                </a:cubicBezTo>
                <a:cubicBezTo>
                  <a:pt x="291" y="272"/>
                  <a:pt x="291" y="272"/>
                  <a:pt x="291" y="272"/>
                </a:cubicBezTo>
                <a:lnTo>
                  <a:pt x="293" y="272"/>
                </a:lnTo>
                <a:close/>
                <a:moveTo>
                  <a:pt x="361" y="235"/>
                </a:moveTo>
                <a:cubicBezTo>
                  <a:pt x="361" y="235"/>
                  <a:pt x="361" y="234"/>
                  <a:pt x="361" y="234"/>
                </a:cubicBezTo>
                <a:cubicBezTo>
                  <a:pt x="365" y="233"/>
                  <a:pt x="365" y="233"/>
                  <a:pt x="365" y="233"/>
                </a:cubicBezTo>
                <a:cubicBezTo>
                  <a:pt x="363" y="233"/>
                  <a:pt x="362" y="234"/>
                  <a:pt x="361" y="235"/>
                </a:cubicBezTo>
                <a:close/>
                <a:moveTo>
                  <a:pt x="138" y="283"/>
                </a:moveTo>
                <a:cubicBezTo>
                  <a:pt x="136" y="284"/>
                  <a:pt x="135" y="284"/>
                  <a:pt x="133" y="285"/>
                </a:cubicBezTo>
                <a:cubicBezTo>
                  <a:pt x="137" y="285"/>
                  <a:pt x="139" y="284"/>
                  <a:pt x="138" y="283"/>
                </a:cubicBezTo>
                <a:close/>
                <a:moveTo>
                  <a:pt x="291" y="260"/>
                </a:moveTo>
                <a:cubicBezTo>
                  <a:pt x="291" y="260"/>
                  <a:pt x="291" y="260"/>
                  <a:pt x="291" y="260"/>
                </a:cubicBezTo>
                <a:cubicBezTo>
                  <a:pt x="291" y="260"/>
                  <a:pt x="291" y="260"/>
                  <a:pt x="291" y="260"/>
                </a:cubicBezTo>
                <a:close/>
                <a:moveTo>
                  <a:pt x="331" y="261"/>
                </a:moveTo>
                <a:cubicBezTo>
                  <a:pt x="325" y="263"/>
                  <a:pt x="325" y="263"/>
                  <a:pt x="325" y="263"/>
                </a:cubicBezTo>
                <a:cubicBezTo>
                  <a:pt x="327" y="262"/>
                  <a:pt x="330" y="262"/>
                  <a:pt x="331" y="261"/>
                </a:cubicBezTo>
                <a:close/>
                <a:moveTo>
                  <a:pt x="362" y="45"/>
                </a:moveTo>
                <a:cubicBezTo>
                  <a:pt x="366" y="46"/>
                  <a:pt x="366" y="46"/>
                  <a:pt x="366" y="46"/>
                </a:cubicBezTo>
                <a:cubicBezTo>
                  <a:pt x="364" y="45"/>
                  <a:pt x="363" y="45"/>
                  <a:pt x="362" y="45"/>
                </a:cubicBezTo>
                <a:close/>
                <a:moveTo>
                  <a:pt x="136" y="14"/>
                </a:moveTo>
                <a:cubicBezTo>
                  <a:pt x="140" y="14"/>
                  <a:pt x="141" y="13"/>
                  <a:pt x="141" y="12"/>
                </a:cubicBezTo>
                <a:cubicBezTo>
                  <a:pt x="139" y="13"/>
                  <a:pt x="138" y="14"/>
                  <a:pt x="136" y="14"/>
                </a:cubicBezTo>
                <a:close/>
                <a:moveTo>
                  <a:pt x="373" y="14"/>
                </a:moveTo>
                <a:cubicBezTo>
                  <a:pt x="375" y="14"/>
                  <a:pt x="375" y="14"/>
                  <a:pt x="375" y="14"/>
                </a:cubicBezTo>
                <a:cubicBezTo>
                  <a:pt x="374" y="14"/>
                  <a:pt x="374" y="14"/>
                  <a:pt x="373" y="14"/>
                </a:cubicBezTo>
                <a:close/>
                <a:moveTo>
                  <a:pt x="234" y="28"/>
                </a:moveTo>
                <a:cubicBezTo>
                  <a:pt x="233" y="29"/>
                  <a:pt x="232" y="29"/>
                  <a:pt x="232" y="29"/>
                </a:cubicBezTo>
                <a:cubicBezTo>
                  <a:pt x="233" y="29"/>
                  <a:pt x="234" y="29"/>
                  <a:pt x="234" y="28"/>
                </a:cubicBezTo>
                <a:close/>
                <a:moveTo>
                  <a:pt x="109" y="53"/>
                </a:moveTo>
                <a:cubicBezTo>
                  <a:pt x="103" y="58"/>
                  <a:pt x="96" y="64"/>
                  <a:pt x="90" y="69"/>
                </a:cubicBezTo>
                <a:cubicBezTo>
                  <a:pt x="88" y="69"/>
                  <a:pt x="79" y="75"/>
                  <a:pt x="85" y="70"/>
                </a:cubicBezTo>
                <a:cubicBezTo>
                  <a:pt x="83" y="72"/>
                  <a:pt x="80" y="75"/>
                  <a:pt x="78" y="77"/>
                </a:cubicBezTo>
                <a:cubicBezTo>
                  <a:pt x="78" y="76"/>
                  <a:pt x="78" y="76"/>
                  <a:pt x="78" y="76"/>
                </a:cubicBezTo>
                <a:cubicBezTo>
                  <a:pt x="62" y="87"/>
                  <a:pt x="49" y="101"/>
                  <a:pt x="38" y="116"/>
                </a:cubicBezTo>
                <a:cubicBezTo>
                  <a:pt x="27" y="131"/>
                  <a:pt x="17" y="147"/>
                  <a:pt x="7" y="166"/>
                </a:cubicBezTo>
                <a:cubicBezTo>
                  <a:pt x="7" y="165"/>
                  <a:pt x="7" y="165"/>
                  <a:pt x="7" y="165"/>
                </a:cubicBezTo>
                <a:cubicBezTo>
                  <a:pt x="5" y="173"/>
                  <a:pt x="3" y="182"/>
                  <a:pt x="3" y="190"/>
                </a:cubicBezTo>
                <a:cubicBezTo>
                  <a:pt x="3" y="195"/>
                  <a:pt x="0" y="196"/>
                  <a:pt x="0" y="204"/>
                </a:cubicBezTo>
                <a:cubicBezTo>
                  <a:pt x="1" y="202"/>
                  <a:pt x="1" y="206"/>
                  <a:pt x="2" y="211"/>
                </a:cubicBezTo>
                <a:cubicBezTo>
                  <a:pt x="2" y="213"/>
                  <a:pt x="3" y="216"/>
                  <a:pt x="3" y="218"/>
                </a:cubicBezTo>
                <a:cubicBezTo>
                  <a:pt x="4" y="220"/>
                  <a:pt x="5" y="223"/>
                  <a:pt x="6" y="224"/>
                </a:cubicBezTo>
                <a:cubicBezTo>
                  <a:pt x="7" y="230"/>
                  <a:pt x="4" y="224"/>
                  <a:pt x="3" y="222"/>
                </a:cubicBezTo>
                <a:cubicBezTo>
                  <a:pt x="5" y="229"/>
                  <a:pt x="8" y="235"/>
                  <a:pt x="12" y="240"/>
                </a:cubicBezTo>
                <a:cubicBezTo>
                  <a:pt x="16" y="246"/>
                  <a:pt x="20" y="250"/>
                  <a:pt x="25" y="253"/>
                </a:cubicBezTo>
                <a:cubicBezTo>
                  <a:pt x="34" y="260"/>
                  <a:pt x="45" y="265"/>
                  <a:pt x="57" y="270"/>
                </a:cubicBezTo>
                <a:cubicBezTo>
                  <a:pt x="45" y="264"/>
                  <a:pt x="40" y="260"/>
                  <a:pt x="35" y="257"/>
                </a:cubicBezTo>
                <a:cubicBezTo>
                  <a:pt x="31" y="254"/>
                  <a:pt x="27" y="252"/>
                  <a:pt x="20" y="244"/>
                </a:cubicBezTo>
                <a:cubicBezTo>
                  <a:pt x="29" y="252"/>
                  <a:pt x="34" y="255"/>
                  <a:pt x="39" y="258"/>
                </a:cubicBezTo>
                <a:cubicBezTo>
                  <a:pt x="45" y="262"/>
                  <a:pt x="50" y="265"/>
                  <a:pt x="60" y="268"/>
                </a:cubicBezTo>
                <a:cubicBezTo>
                  <a:pt x="57" y="267"/>
                  <a:pt x="54" y="267"/>
                  <a:pt x="51" y="265"/>
                </a:cubicBezTo>
                <a:cubicBezTo>
                  <a:pt x="55" y="269"/>
                  <a:pt x="63" y="272"/>
                  <a:pt x="71" y="273"/>
                </a:cubicBezTo>
                <a:cubicBezTo>
                  <a:pt x="78" y="275"/>
                  <a:pt x="84" y="276"/>
                  <a:pt x="85" y="278"/>
                </a:cubicBezTo>
                <a:cubicBezTo>
                  <a:pt x="98" y="280"/>
                  <a:pt x="109" y="278"/>
                  <a:pt x="124" y="280"/>
                </a:cubicBezTo>
                <a:cubicBezTo>
                  <a:pt x="117" y="283"/>
                  <a:pt x="117" y="283"/>
                  <a:pt x="117" y="283"/>
                </a:cubicBezTo>
                <a:cubicBezTo>
                  <a:pt x="121" y="283"/>
                  <a:pt x="126" y="284"/>
                  <a:pt x="130" y="284"/>
                </a:cubicBezTo>
                <a:cubicBezTo>
                  <a:pt x="131" y="282"/>
                  <a:pt x="131" y="282"/>
                  <a:pt x="131" y="282"/>
                </a:cubicBezTo>
                <a:cubicBezTo>
                  <a:pt x="135" y="282"/>
                  <a:pt x="137" y="283"/>
                  <a:pt x="138" y="283"/>
                </a:cubicBezTo>
                <a:cubicBezTo>
                  <a:pt x="147" y="282"/>
                  <a:pt x="160" y="284"/>
                  <a:pt x="173" y="283"/>
                </a:cubicBezTo>
                <a:cubicBezTo>
                  <a:pt x="175" y="284"/>
                  <a:pt x="175" y="284"/>
                  <a:pt x="175" y="284"/>
                </a:cubicBezTo>
                <a:cubicBezTo>
                  <a:pt x="176" y="283"/>
                  <a:pt x="177" y="283"/>
                  <a:pt x="177" y="283"/>
                </a:cubicBezTo>
                <a:cubicBezTo>
                  <a:pt x="180" y="285"/>
                  <a:pt x="190" y="284"/>
                  <a:pt x="191" y="286"/>
                </a:cubicBezTo>
                <a:cubicBezTo>
                  <a:pt x="187" y="286"/>
                  <a:pt x="177" y="287"/>
                  <a:pt x="178" y="286"/>
                </a:cubicBezTo>
                <a:cubicBezTo>
                  <a:pt x="167" y="288"/>
                  <a:pt x="191" y="287"/>
                  <a:pt x="198" y="287"/>
                </a:cubicBezTo>
                <a:cubicBezTo>
                  <a:pt x="190" y="286"/>
                  <a:pt x="200" y="286"/>
                  <a:pt x="204" y="285"/>
                </a:cubicBezTo>
                <a:cubicBezTo>
                  <a:pt x="205" y="286"/>
                  <a:pt x="203" y="286"/>
                  <a:pt x="203" y="286"/>
                </a:cubicBezTo>
                <a:cubicBezTo>
                  <a:pt x="216" y="287"/>
                  <a:pt x="220" y="281"/>
                  <a:pt x="229" y="284"/>
                </a:cubicBezTo>
                <a:cubicBezTo>
                  <a:pt x="231" y="282"/>
                  <a:pt x="231" y="282"/>
                  <a:pt x="231" y="282"/>
                </a:cubicBezTo>
                <a:cubicBezTo>
                  <a:pt x="234" y="283"/>
                  <a:pt x="238" y="283"/>
                  <a:pt x="241" y="283"/>
                </a:cubicBezTo>
                <a:cubicBezTo>
                  <a:pt x="242" y="279"/>
                  <a:pt x="255" y="281"/>
                  <a:pt x="257" y="277"/>
                </a:cubicBezTo>
                <a:cubicBezTo>
                  <a:pt x="268" y="275"/>
                  <a:pt x="255" y="279"/>
                  <a:pt x="259" y="278"/>
                </a:cubicBezTo>
                <a:cubicBezTo>
                  <a:pt x="270" y="278"/>
                  <a:pt x="288" y="270"/>
                  <a:pt x="292" y="271"/>
                </a:cubicBezTo>
                <a:cubicBezTo>
                  <a:pt x="301" y="268"/>
                  <a:pt x="311" y="266"/>
                  <a:pt x="319" y="263"/>
                </a:cubicBezTo>
                <a:cubicBezTo>
                  <a:pt x="320" y="265"/>
                  <a:pt x="320" y="265"/>
                  <a:pt x="320" y="265"/>
                </a:cubicBezTo>
                <a:cubicBezTo>
                  <a:pt x="324" y="263"/>
                  <a:pt x="328" y="261"/>
                  <a:pt x="332" y="260"/>
                </a:cubicBezTo>
                <a:cubicBezTo>
                  <a:pt x="332" y="260"/>
                  <a:pt x="331" y="260"/>
                  <a:pt x="331" y="261"/>
                </a:cubicBezTo>
                <a:cubicBezTo>
                  <a:pt x="351" y="253"/>
                  <a:pt x="351" y="253"/>
                  <a:pt x="351" y="253"/>
                </a:cubicBezTo>
                <a:cubicBezTo>
                  <a:pt x="357" y="250"/>
                  <a:pt x="363" y="248"/>
                  <a:pt x="369" y="246"/>
                </a:cubicBezTo>
                <a:cubicBezTo>
                  <a:pt x="368" y="247"/>
                  <a:pt x="369" y="248"/>
                  <a:pt x="362" y="251"/>
                </a:cubicBezTo>
                <a:cubicBezTo>
                  <a:pt x="373" y="248"/>
                  <a:pt x="392" y="238"/>
                  <a:pt x="408" y="228"/>
                </a:cubicBezTo>
                <a:cubicBezTo>
                  <a:pt x="407" y="229"/>
                  <a:pt x="407" y="229"/>
                  <a:pt x="407" y="229"/>
                </a:cubicBezTo>
                <a:cubicBezTo>
                  <a:pt x="410" y="227"/>
                  <a:pt x="413" y="225"/>
                  <a:pt x="415" y="222"/>
                </a:cubicBezTo>
                <a:cubicBezTo>
                  <a:pt x="414" y="224"/>
                  <a:pt x="415" y="223"/>
                  <a:pt x="416" y="224"/>
                </a:cubicBezTo>
                <a:cubicBezTo>
                  <a:pt x="423" y="219"/>
                  <a:pt x="431" y="211"/>
                  <a:pt x="437" y="204"/>
                </a:cubicBezTo>
                <a:cubicBezTo>
                  <a:pt x="443" y="196"/>
                  <a:pt x="446" y="189"/>
                  <a:pt x="447" y="183"/>
                </a:cubicBezTo>
                <a:cubicBezTo>
                  <a:pt x="445" y="188"/>
                  <a:pt x="453" y="176"/>
                  <a:pt x="449" y="187"/>
                </a:cubicBezTo>
                <a:cubicBezTo>
                  <a:pt x="453" y="178"/>
                  <a:pt x="456" y="167"/>
                  <a:pt x="457" y="155"/>
                </a:cubicBezTo>
                <a:cubicBezTo>
                  <a:pt x="458" y="144"/>
                  <a:pt x="456" y="132"/>
                  <a:pt x="452" y="122"/>
                </a:cubicBezTo>
                <a:cubicBezTo>
                  <a:pt x="452" y="123"/>
                  <a:pt x="452" y="123"/>
                  <a:pt x="452" y="123"/>
                </a:cubicBezTo>
                <a:cubicBezTo>
                  <a:pt x="450" y="120"/>
                  <a:pt x="449" y="117"/>
                  <a:pt x="447" y="115"/>
                </a:cubicBezTo>
                <a:cubicBezTo>
                  <a:pt x="447" y="114"/>
                  <a:pt x="447" y="114"/>
                  <a:pt x="447" y="114"/>
                </a:cubicBezTo>
                <a:cubicBezTo>
                  <a:pt x="448" y="116"/>
                  <a:pt x="449" y="118"/>
                  <a:pt x="450" y="120"/>
                </a:cubicBezTo>
                <a:cubicBezTo>
                  <a:pt x="447" y="112"/>
                  <a:pt x="443" y="105"/>
                  <a:pt x="438" y="100"/>
                </a:cubicBezTo>
                <a:cubicBezTo>
                  <a:pt x="438" y="99"/>
                  <a:pt x="438" y="96"/>
                  <a:pt x="436" y="92"/>
                </a:cubicBezTo>
                <a:cubicBezTo>
                  <a:pt x="435" y="93"/>
                  <a:pt x="432" y="88"/>
                  <a:pt x="427" y="82"/>
                </a:cubicBezTo>
                <a:cubicBezTo>
                  <a:pt x="423" y="76"/>
                  <a:pt x="417" y="70"/>
                  <a:pt x="413" y="67"/>
                </a:cubicBezTo>
                <a:cubicBezTo>
                  <a:pt x="412" y="66"/>
                  <a:pt x="416" y="70"/>
                  <a:pt x="414" y="67"/>
                </a:cubicBezTo>
                <a:cubicBezTo>
                  <a:pt x="405" y="59"/>
                  <a:pt x="392" y="49"/>
                  <a:pt x="378" y="41"/>
                </a:cubicBezTo>
                <a:cubicBezTo>
                  <a:pt x="364" y="33"/>
                  <a:pt x="349" y="26"/>
                  <a:pt x="336" y="20"/>
                </a:cubicBezTo>
                <a:cubicBezTo>
                  <a:pt x="334" y="21"/>
                  <a:pt x="327" y="19"/>
                  <a:pt x="319" y="17"/>
                </a:cubicBezTo>
                <a:cubicBezTo>
                  <a:pt x="311" y="15"/>
                  <a:pt x="301" y="13"/>
                  <a:pt x="293" y="12"/>
                </a:cubicBezTo>
                <a:cubicBezTo>
                  <a:pt x="290" y="9"/>
                  <a:pt x="302" y="13"/>
                  <a:pt x="307" y="12"/>
                </a:cubicBezTo>
                <a:cubicBezTo>
                  <a:pt x="298" y="11"/>
                  <a:pt x="306" y="9"/>
                  <a:pt x="290" y="7"/>
                </a:cubicBezTo>
                <a:cubicBezTo>
                  <a:pt x="291" y="7"/>
                  <a:pt x="290" y="6"/>
                  <a:pt x="293" y="7"/>
                </a:cubicBezTo>
                <a:cubicBezTo>
                  <a:pt x="285" y="5"/>
                  <a:pt x="295" y="10"/>
                  <a:pt x="281" y="7"/>
                </a:cubicBezTo>
                <a:cubicBezTo>
                  <a:pt x="281" y="5"/>
                  <a:pt x="281" y="5"/>
                  <a:pt x="281" y="5"/>
                </a:cubicBezTo>
                <a:cubicBezTo>
                  <a:pt x="273" y="6"/>
                  <a:pt x="273" y="6"/>
                  <a:pt x="273" y="6"/>
                </a:cubicBezTo>
                <a:cubicBezTo>
                  <a:pt x="245" y="1"/>
                  <a:pt x="221" y="1"/>
                  <a:pt x="197" y="0"/>
                </a:cubicBezTo>
                <a:cubicBezTo>
                  <a:pt x="195" y="0"/>
                  <a:pt x="196" y="1"/>
                  <a:pt x="199" y="2"/>
                </a:cubicBezTo>
                <a:cubicBezTo>
                  <a:pt x="188" y="2"/>
                  <a:pt x="175" y="5"/>
                  <a:pt x="163" y="5"/>
                </a:cubicBezTo>
                <a:cubicBezTo>
                  <a:pt x="166" y="4"/>
                  <a:pt x="166" y="4"/>
                  <a:pt x="166" y="4"/>
                </a:cubicBezTo>
                <a:cubicBezTo>
                  <a:pt x="156" y="5"/>
                  <a:pt x="151" y="6"/>
                  <a:pt x="145" y="7"/>
                </a:cubicBezTo>
                <a:cubicBezTo>
                  <a:pt x="136" y="10"/>
                  <a:pt x="136" y="10"/>
                  <a:pt x="136" y="10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6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8" y="13"/>
                  <a:pt x="128" y="13"/>
                  <a:pt x="128" y="13"/>
                </a:cubicBezTo>
                <a:cubicBezTo>
                  <a:pt x="130" y="12"/>
                  <a:pt x="132" y="12"/>
                  <a:pt x="133" y="11"/>
                </a:cubicBezTo>
                <a:cubicBezTo>
                  <a:pt x="137" y="10"/>
                  <a:pt x="141" y="10"/>
                  <a:pt x="141" y="11"/>
                </a:cubicBezTo>
                <a:cubicBezTo>
                  <a:pt x="140" y="12"/>
                  <a:pt x="137" y="13"/>
                  <a:pt x="133" y="13"/>
                </a:cubicBezTo>
                <a:cubicBezTo>
                  <a:pt x="131" y="14"/>
                  <a:pt x="130" y="14"/>
                  <a:pt x="128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27" y="16"/>
                  <a:pt x="127" y="16"/>
                  <a:pt x="127" y="15"/>
                </a:cubicBezTo>
                <a:cubicBezTo>
                  <a:pt x="128" y="15"/>
                  <a:pt x="128" y="15"/>
                  <a:pt x="129" y="15"/>
                </a:cubicBezTo>
                <a:cubicBezTo>
                  <a:pt x="130" y="14"/>
                  <a:pt x="132" y="14"/>
                  <a:pt x="134" y="13"/>
                </a:cubicBezTo>
                <a:cubicBezTo>
                  <a:pt x="144" y="11"/>
                  <a:pt x="144" y="11"/>
                  <a:pt x="144" y="11"/>
                </a:cubicBezTo>
                <a:cubicBezTo>
                  <a:pt x="142" y="11"/>
                  <a:pt x="142" y="12"/>
                  <a:pt x="141" y="12"/>
                </a:cubicBezTo>
                <a:cubicBezTo>
                  <a:pt x="147" y="11"/>
                  <a:pt x="155" y="10"/>
                  <a:pt x="163" y="8"/>
                </a:cubicBezTo>
                <a:cubicBezTo>
                  <a:pt x="159" y="8"/>
                  <a:pt x="155" y="9"/>
                  <a:pt x="151" y="9"/>
                </a:cubicBezTo>
                <a:cubicBezTo>
                  <a:pt x="156" y="7"/>
                  <a:pt x="171" y="7"/>
                  <a:pt x="176" y="6"/>
                </a:cubicBezTo>
                <a:cubicBezTo>
                  <a:pt x="176" y="8"/>
                  <a:pt x="169" y="8"/>
                  <a:pt x="176" y="9"/>
                </a:cubicBezTo>
                <a:cubicBezTo>
                  <a:pt x="186" y="9"/>
                  <a:pt x="189" y="8"/>
                  <a:pt x="192" y="7"/>
                </a:cubicBezTo>
                <a:cubicBezTo>
                  <a:pt x="194" y="6"/>
                  <a:pt x="197" y="5"/>
                  <a:pt x="207" y="4"/>
                </a:cubicBezTo>
                <a:cubicBezTo>
                  <a:pt x="203" y="3"/>
                  <a:pt x="203" y="3"/>
                  <a:pt x="203" y="3"/>
                </a:cubicBezTo>
                <a:cubicBezTo>
                  <a:pt x="209" y="3"/>
                  <a:pt x="214" y="1"/>
                  <a:pt x="223" y="2"/>
                </a:cubicBezTo>
                <a:cubicBezTo>
                  <a:pt x="223" y="4"/>
                  <a:pt x="216" y="4"/>
                  <a:pt x="213" y="4"/>
                </a:cubicBezTo>
                <a:cubicBezTo>
                  <a:pt x="214" y="5"/>
                  <a:pt x="224" y="2"/>
                  <a:pt x="230" y="4"/>
                </a:cubicBezTo>
                <a:cubicBezTo>
                  <a:pt x="225" y="5"/>
                  <a:pt x="210" y="6"/>
                  <a:pt x="200" y="6"/>
                </a:cubicBezTo>
                <a:cubicBezTo>
                  <a:pt x="201" y="7"/>
                  <a:pt x="201" y="7"/>
                  <a:pt x="200" y="8"/>
                </a:cubicBezTo>
                <a:cubicBezTo>
                  <a:pt x="229" y="6"/>
                  <a:pt x="262" y="6"/>
                  <a:pt x="291" y="13"/>
                </a:cubicBezTo>
                <a:cubicBezTo>
                  <a:pt x="275" y="13"/>
                  <a:pt x="297" y="15"/>
                  <a:pt x="293" y="17"/>
                </a:cubicBezTo>
                <a:cubicBezTo>
                  <a:pt x="296" y="15"/>
                  <a:pt x="304" y="19"/>
                  <a:pt x="312" y="21"/>
                </a:cubicBezTo>
                <a:cubicBezTo>
                  <a:pt x="315" y="24"/>
                  <a:pt x="296" y="18"/>
                  <a:pt x="302" y="21"/>
                </a:cubicBezTo>
                <a:cubicBezTo>
                  <a:pt x="317" y="24"/>
                  <a:pt x="338" y="28"/>
                  <a:pt x="356" y="38"/>
                </a:cubicBezTo>
                <a:cubicBezTo>
                  <a:pt x="355" y="38"/>
                  <a:pt x="350" y="36"/>
                  <a:pt x="349" y="36"/>
                </a:cubicBezTo>
                <a:cubicBezTo>
                  <a:pt x="356" y="38"/>
                  <a:pt x="363" y="41"/>
                  <a:pt x="370" y="44"/>
                </a:cubicBezTo>
                <a:cubicBezTo>
                  <a:pt x="376" y="47"/>
                  <a:pt x="382" y="50"/>
                  <a:pt x="385" y="54"/>
                </a:cubicBezTo>
                <a:cubicBezTo>
                  <a:pt x="379" y="51"/>
                  <a:pt x="372" y="48"/>
                  <a:pt x="366" y="46"/>
                </a:cubicBezTo>
                <a:cubicBezTo>
                  <a:pt x="367" y="47"/>
                  <a:pt x="369" y="48"/>
                  <a:pt x="372" y="50"/>
                </a:cubicBezTo>
                <a:cubicBezTo>
                  <a:pt x="370" y="50"/>
                  <a:pt x="368" y="50"/>
                  <a:pt x="367" y="49"/>
                </a:cubicBezTo>
                <a:cubicBezTo>
                  <a:pt x="380" y="58"/>
                  <a:pt x="379" y="53"/>
                  <a:pt x="387" y="57"/>
                </a:cubicBezTo>
                <a:cubicBezTo>
                  <a:pt x="389" y="59"/>
                  <a:pt x="392" y="62"/>
                  <a:pt x="394" y="64"/>
                </a:cubicBezTo>
                <a:cubicBezTo>
                  <a:pt x="407" y="76"/>
                  <a:pt x="419" y="88"/>
                  <a:pt x="428" y="95"/>
                </a:cubicBezTo>
                <a:cubicBezTo>
                  <a:pt x="431" y="98"/>
                  <a:pt x="438" y="109"/>
                  <a:pt x="433" y="106"/>
                </a:cubicBezTo>
                <a:cubicBezTo>
                  <a:pt x="430" y="103"/>
                  <a:pt x="427" y="101"/>
                  <a:pt x="424" y="98"/>
                </a:cubicBezTo>
                <a:cubicBezTo>
                  <a:pt x="421" y="95"/>
                  <a:pt x="417" y="91"/>
                  <a:pt x="411" y="84"/>
                </a:cubicBezTo>
                <a:cubicBezTo>
                  <a:pt x="410" y="81"/>
                  <a:pt x="421" y="93"/>
                  <a:pt x="418" y="89"/>
                </a:cubicBezTo>
                <a:cubicBezTo>
                  <a:pt x="413" y="84"/>
                  <a:pt x="404" y="73"/>
                  <a:pt x="398" y="71"/>
                </a:cubicBezTo>
                <a:cubicBezTo>
                  <a:pt x="403" y="75"/>
                  <a:pt x="408" y="79"/>
                  <a:pt x="412" y="84"/>
                </a:cubicBezTo>
                <a:cubicBezTo>
                  <a:pt x="410" y="85"/>
                  <a:pt x="407" y="78"/>
                  <a:pt x="403" y="77"/>
                </a:cubicBezTo>
                <a:cubicBezTo>
                  <a:pt x="406" y="82"/>
                  <a:pt x="415" y="88"/>
                  <a:pt x="419" y="95"/>
                </a:cubicBezTo>
                <a:cubicBezTo>
                  <a:pt x="418" y="94"/>
                  <a:pt x="418" y="94"/>
                  <a:pt x="418" y="94"/>
                </a:cubicBezTo>
                <a:cubicBezTo>
                  <a:pt x="423" y="99"/>
                  <a:pt x="425" y="102"/>
                  <a:pt x="427" y="104"/>
                </a:cubicBezTo>
                <a:cubicBezTo>
                  <a:pt x="428" y="107"/>
                  <a:pt x="430" y="110"/>
                  <a:pt x="434" y="116"/>
                </a:cubicBezTo>
                <a:cubicBezTo>
                  <a:pt x="437" y="115"/>
                  <a:pt x="434" y="110"/>
                  <a:pt x="430" y="104"/>
                </a:cubicBezTo>
                <a:cubicBezTo>
                  <a:pt x="437" y="114"/>
                  <a:pt x="445" y="127"/>
                  <a:pt x="448" y="141"/>
                </a:cubicBezTo>
                <a:cubicBezTo>
                  <a:pt x="449" y="148"/>
                  <a:pt x="449" y="156"/>
                  <a:pt x="447" y="163"/>
                </a:cubicBezTo>
                <a:cubicBezTo>
                  <a:pt x="445" y="169"/>
                  <a:pt x="442" y="176"/>
                  <a:pt x="439" y="180"/>
                </a:cubicBezTo>
                <a:cubicBezTo>
                  <a:pt x="440" y="176"/>
                  <a:pt x="441" y="171"/>
                  <a:pt x="442" y="166"/>
                </a:cubicBezTo>
                <a:cubicBezTo>
                  <a:pt x="441" y="171"/>
                  <a:pt x="439" y="176"/>
                  <a:pt x="436" y="181"/>
                </a:cubicBezTo>
                <a:cubicBezTo>
                  <a:pt x="434" y="185"/>
                  <a:pt x="432" y="188"/>
                  <a:pt x="431" y="187"/>
                </a:cubicBezTo>
                <a:cubicBezTo>
                  <a:pt x="434" y="183"/>
                  <a:pt x="434" y="181"/>
                  <a:pt x="434" y="180"/>
                </a:cubicBezTo>
                <a:cubicBezTo>
                  <a:pt x="434" y="180"/>
                  <a:pt x="434" y="179"/>
                  <a:pt x="435" y="177"/>
                </a:cubicBezTo>
                <a:cubicBezTo>
                  <a:pt x="435" y="176"/>
                  <a:pt x="435" y="176"/>
                  <a:pt x="435" y="176"/>
                </a:cubicBezTo>
                <a:cubicBezTo>
                  <a:pt x="436" y="175"/>
                  <a:pt x="437" y="172"/>
                  <a:pt x="436" y="174"/>
                </a:cubicBezTo>
                <a:cubicBezTo>
                  <a:pt x="434" y="181"/>
                  <a:pt x="428" y="192"/>
                  <a:pt x="423" y="199"/>
                </a:cubicBezTo>
                <a:cubicBezTo>
                  <a:pt x="425" y="195"/>
                  <a:pt x="419" y="201"/>
                  <a:pt x="417" y="201"/>
                </a:cubicBezTo>
                <a:cubicBezTo>
                  <a:pt x="412" y="207"/>
                  <a:pt x="418" y="202"/>
                  <a:pt x="419" y="202"/>
                </a:cubicBezTo>
                <a:cubicBezTo>
                  <a:pt x="416" y="206"/>
                  <a:pt x="412" y="212"/>
                  <a:pt x="408" y="213"/>
                </a:cubicBezTo>
                <a:cubicBezTo>
                  <a:pt x="405" y="214"/>
                  <a:pt x="406" y="212"/>
                  <a:pt x="408" y="210"/>
                </a:cubicBezTo>
                <a:cubicBezTo>
                  <a:pt x="411" y="208"/>
                  <a:pt x="413" y="205"/>
                  <a:pt x="414" y="204"/>
                </a:cubicBezTo>
                <a:cubicBezTo>
                  <a:pt x="408" y="210"/>
                  <a:pt x="402" y="216"/>
                  <a:pt x="395" y="221"/>
                </a:cubicBezTo>
                <a:cubicBezTo>
                  <a:pt x="395" y="220"/>
                  <a:pt x="395" y="220"/>
                  <a:pt x="395" y="220"/>
                </a:cubicBezTo>
                <a:cubicBezTo>
                  <a:pt x="393" y="221"/>
                  <a:pt x="390" y="224"/>
                  <a:pt x="388" y="224"/>
                </a:cubicBezTo>
                <a:cubicBezTo>
                  <a:pt x="385" y="224"/>
                  <a:pt x="390" y="222"/>
                  <a:pt x="394" y="220"/>
                </a:cubicBezTo>
                <a:cubicBezTo>
                  <a:pt x="381" y="225"/>
                  <a:pt x="374" y="233"/>
                  <a:pt x="361" y="234"/>
                </a:cubicBezTo>
                <a:cubicBezTo>
                  <a:pt x="355" y="238"/>
                  <a:pt x="355" y="238"/>
                  <a:pt x="355" y="238"/>
                </a:cubicBezTo>
                <a:cubicBezTo>
                  <a:pt x="354" y="238"/>
                  <a:pt x="352" y="238"/>
                  <a:pt x="354" y="238"/>
                </a:cubicBezTo>
                <a:cubicBezTo>
                  <a:pt x="347" y="241"/>
                  <a:pt x="347" y="241"/>
                  <a:pt x="347" y="241"/>
                </a:cubicBezTo>
                <a:cubicBezTo>
                  <a:pt x="334" y="247"/>
                  <a:pt x="343" y="240"/>
                  <a:pt x="338" y="241"/>
                </a:cubicBezTo>
                <a:cubicBezTo>
                  <a:pt x="339" y="241"/>
                  <a:pt x="339" y="241"/>
                  <a:pt x="339" y="241"/>
                </a:cubicBezTo>
                <a:cubicBezTo>
                  <a:pt x="335" y="242"/>
                  <a:pt x="331" y="242"/>
                  <a:pt x="334" y="241"/>
                </a:cubicBezTo>
                <a:cubicBezTo>
                  <a:pt x="330" y="243"/>
                  <a:pt x="325" y="245"/>
                  <a:pt x="321" y="247"/>
                </a:cubicBezTo>
                <a:cubicBezTo>
                  <a:pt x="321" y="247"/>
                  <a:pt x="321" y="247"/>
                  <a:pt x="321" y="247"/>
                </a:cubicBezTo>
                <a:cubicBezTo>
                  <a:pt x="318" y="249"/>
                  <a:pt x="312" y="251"/>
                  <a:pt x="306" y="254"/>
                </a:cubicBezTo>
                <a:cubicBezTo>
                  <a:pt x="301" y="256"/>
                  <a:pt x="296" y="258"/>
                  <a:pt x="296" y="260"/>
                </a:cubicBezTo>
                <a:cubicBezTo>
                  <a:pt x="292" y="261"/>
                  <a:pt x="289" y="261"/>
                  <a:pt x="291" y="260"/>
                </a:cubicBezTo>
                <a:cubicBezTo>
                  <a:pt x="280" y="262"/>
                  <a:pt x="293" y="257"/>
                  <a:pt x="275" y="261"/>
                </a:cubicBezTo>
                <a:cubicBezTo>
                  <a:pt x="275" y="260"/>
                  <a:pt x="277" y="260"/>
                  <a:pt x="280" y="259"/>
                </a:cubicBezTo>
                <a:cubicBezTo>
                  <a:pt x="275" y="260"/>
                  <a:pt x="274" y="260"/>
                  <a:pt x="273" y="261"/>
                </a:cubicBezTo>
                <a:cubicBezTo>
                  <a:pt x="273" y="261"/>
                  <a:pt x="272" y="260"/>
                  <a:pt x="271" y="260"/>
                </a:cubicBezTo>
                <a:cubicBezTo>
                  <a:pt x="271" y="261"/>
                  <a:pt x="264" y="262"/>
                  <a:pt x="260" y="263"/>
                </a:cubicBezTo>
                <a:cubicBezTo>
                  <a:pt x="266" y="259"/>
                  <a:pt x="266" y="259"/>
                  <a:pt x="266" y="259"/>
                </a:cubicBezTo>
                <a:cubicBezTo>
                  <a:pt x="262" y="261"/>
                  <a:pt x="260" y="262"/>
                  <a:pt x="252" y="262"/>
                </a:cubicBezTo>
                <a:cubicBezTo>
                  <a:pt x="257" y="260"/>
                  <a:pt x="257" y="260"/>
                  <a:pt x="257" y="260"/>
                </a:cubicBezTo>
                <a:cubicBezTo>
                  <a:pt x="245" y="262"/>
                  <a:pt x="256" y="264"/>
                  <a:pt x="242" y="264"/>
                </a:cubicBezTo>
                <a:cubicBezTo>
                  <a:pt x="246" y="264"/>
                  <a:pt x="251" y="264"/>
                  <a:pt x="255" y="264"/>
                </a:cubicBezTo>
                <a:cubicBezTo>
                  <a:pt x="240" y="266"/>
                  <a:pt x="245" y="268"/>
                  <a:pt x="239" y="271"/>
                </a:cubicBezTo>
                <a:cubicBezTo>
                  <a:pt x="223" y="275"/>
                  <a:pt x="203" y="271"/>
                  <a:pt x="190" y="276"/>
                </a:cubicBezTo>
                <a:cubicBezTo>
                  <a:pt x="188" y="274"/>
                  <a:pt x="190" y="274"/>
                  <a:pt x="186" y="272"/>
                </a:cubicBezTo>
                <a:cubicBezTo>
                  <a:pt x="196" y="272"/>
                  <a:pt x="201" y="271"/>
                  <a:pt x="206" y="269"/>
                </a:cubicBezTo>
                <a:cubicBezTo>
                  <a:pt x="225" y="266"/>
                  <a:pt x="211" y="274"/>
                  <a:pt x="233" y="269"/>
                </a:cubicBezTo>
                <a:cubicBezTo>
                  <a:pt x="231" y="268"/>
                  <a:pt x="225" y="268"/>
                  <a:pt x="219" y="269"/>
                </a:cubicBezTo>
                <a:cubicBezTo>
                  <a:pt x="218" y="268"/>
                  <a:pt x="225" y="266"/>
                  <a:pt x="230" y="265"/>
                </a:cubicBezTo>
                <a:cubicBezTo>
                  <a:pt x="218" y="267"/>
                  <a:pt x="200" y="266"/>
                  <a:pt x="192" y="266"/>
                </a:cubicBezTo>
                <a:cubicBezTo>
                  <a:pt x="189" y="267"/>
                  <a:pt x="179" y="268"/>
                  <a:pt x="175" y="267"/>
                </a:cubicBezTo>
                <a:cubicBezTo>
                  <a:pt x="175" y="269"/>
                  <a:pt x="156" y="269"/>
                  <a:pt x="162" y="271"/>
                </a:cubicBezTo>
                <a:cubicBezTo>
                  <a:pt x="148" y="271"/>
                  <a:pt x="153" y="268"/>
                  <a:pt x="140" y="270"/>
                </a:cubicBezTo>
                <a:cubicBezTo>
                  <a:pt x="145" y="268"/>
                  <a:pt x="132" y="267"/>
                  <a:pt x="138" y="266"/>
                </a:cubicBezTo>
                <a:cubicBezTo>
                  <a:pt x="142" y="268"/>
                  <a:pt x="156" y="266"/>
                  <a:pt x="163" y="265"/>
                </a:cubicBezTo>
                <a:cubicBezTo>
                  <a:pt x="157" y="264"/>
                  <a:pt x="150" y="264"/>
                  <a:pt x="144" y="263"/>
                </a:cubicBezTo>
                <a:cubicBezTo>
                  <a:pt x="149" y="264"/>
                  <a:pt x="142" y="265"/>
                  <a:pt x="139" y="265"/>
                </a:cubicBezTo>
                <a:cubicBezTo>
                  <a:pt x="137" y="263"/>
                  <a:pt x="137" y="263"/>
                  <a:pt x="137" y="263"/>
                </a:cubicBezTo>
                <a:cubicBezTo>
                  <a:pt x="135" y="265"/>
                  <a:pt x="127" y="263"/>
                  <a:pt x="118" y="261"/>
                </a:cubicBezTo>
                <a:cubicBezTo>
                  <a:pt x="109" y="260"/>
                  <a:pt x="99" y="257"/>
                  <a:pt x="94" y="259"/>
                </a:cubicBezTo>
                <a:cubicBezTo>
                  <a:pt x="100" y="260"/>
                  <a:pt x="105" y="262"/>
                  <a:pt x="108" y="260"/>
                </a:cubicBezTo>
                <a:cubicBezTo>
                  <a:pt x="119" y="263"/>
                  <a:pt x="105" y="263"/>
                  <a:pt x="110" y="265"/>
                </a:cubicBezTo>
                <a:cubicBezTo>
                  <a:pt x="101" y="265"/>
                  <a:pt x="90" y="263"/>
                  <a:pt x="80" y="260"/>
                </a:cubicBezTo>
                <a:cubicBezTo>
                  <a:pt x="69" y="257"/>
                  <a:pt x="58" y="254"/>
                  <a:pt x="49" y="251"/>
                </a:cubicBezTo>
                <a:cubicBezTo>
                  <a:pt x="53" y="251"/>
                  <a:pt x="61" y="255"/>
                  <a:pt x="62" y="253"/>
                </a:cubicBezTo>
                <a:cubicBezTo>
                  <a:pt x="56" y="250"/>
                  <a:pt x="49" y="248"/>
                  <a:pt x="42" y="245"/>
                </a:cubicBezTo>
                <a:cubicBezTo>
                  <a:pt x="34" y="241"/>
                  <a:pt x="27" y="237"/>
                  <a:pt x="22" y="231"/>
                </a:cubicBezTo>
                <a:cubicBezTo>
                  <a:pt x="23" y="231"/>
                  <a:pt x="24" y="231"/>
                  <a:pt x="25" y="232"/>
                </a:cubicBezTo>
                <a:cubicBezTo>
                  <a:pt x="21" y="227"/>
                  <a:pt x="20" y="226"/>
                  <a:pt x="20" y="224"/>
                </a:cubicBezTo>
                <a:cubicBezTo>
                  <a:pt x="20" y="223"/>
                  <a:pt x="19" y="221"/>
                  <a:pt x="17" y="215"/>
                </a:cubicBezTo>
                <a:cubicBezTo>
                  <a:pt x="17" y="215"/>
                  <a:pt x="17" y="217"/>
                  <a:pt x="16" y="214"/>
                </a:cubicBezTo>
                <a:cubicBezTo>
                  <a:pt x="15" y="208"/>
                  <a:pt x="15" y="208"/>
                  <a:pt x="16" y="208"/>
                </a:cubicBezTo>
                <a:cubicBezTo>
                  <a:pt x="16" y="208"/>
                  <a:pt x="17" y="209"/>
                  <a:pt x="17" y="205"/>
                </a:cubicBezTo>
                <a:cubicBezTo>
                  <a:pt x="15" y="198"/>
                  <a:pt x="16" y="196"/>
                  <a:pt x="17" y="194"/>
                </a:cubicBezTo>
                <a:cubicBezTo>
                  <a:pt x="18" y="192"/>
                  <a:pt x="18" y="189"/>
                  <a:pt x="20" y="180"/>
                </a:cubicBezTo>
                <a:cubicBezTo>
                  <a:pt x="20" y="182"/>
                  <a:pt x="20" y="182"/>
                  <a:pt x="20" y="182"/>
                </a:cubicBezTo>
                <a:cubicBezTo>
                  <a:pt x="21" y="175"/>
                  <a:pt x="24" y="167"/>
                  <a:pt x="29" y="160"/>
                </a:cubicBezTo>
                <a:cubicBezTo>
                  <a:pt x="33" y="153"/>
                  <a:pt x="39" y="146"/>
                  <a:pt x="43" y="140"/>
                </a:cubicBezTo>
                <a:cubicBezTo>
                  <a:pt x="42" y="140"/>
                  <a:pt x="36" y="150"/>
                  <a:pt x="35" y="148"/>
                </a:cubicBezTo>
                <a:cubicBezTo>
                  <a:pt x="38" y="142"/>
                  <a:pt x="42" y="137"/>
                  <a:pt x="46" y="132"/>
                </a:cubicBezTo>
                <a:cubicBezTo>
                  <a:pt x="47" y="131"/>
                  <a:pt x="53" y="125"/>
                  <a:pt x="50" y="130"/>
                </a:cubicBezTo>
                <a:cubicBezTo>
                  <a:pt x="49" y="132"/>
                  <a:pt x="47" y="134"/>
                  <a:pt x="46" y="135"/>
                </a:cubicBezTo>
                <a:cubicBezTo>
                  <a:pt x="48" y="134"/>
                  <a:pt x="48" y="134"/>
                  <a:pt x="48" y="134"/>
                </a:cubicBezTo>
                <a:cubicBezTo>
                  <a:pt x="59" y="119"/>
                  <a:pt x="45" y="132"/>
                  <a:pt x="43" y="131"/>
                </a:cubicBezTo>
                <a:cubicBezTo>
                  <a:pt x="50" y="124"/>
                  <a:pt x="51" y="120"/>
                  <a:pt x="56" y="115"/>
                </a:cubicBezTo>
                <a:cubicBezTo>
                  <a:pt x="59" y="114"/>
                  <a:pt x="49" y="126"/>
                  <a:pt x="56" y="121"/>
                </a:cubicBezTo>
                <a:cubicBezTo>
                  <a:pt x="58" y="119"/>
                  <a:pt x="62" y="115"/>
                  <a:pt x="67" y="110"/>
                </a:cubicBezTo>
                <a:cubicBezTo>
                  <a:pt x="71" y="105"/>
                  <a:pt x="75" y="100"/>
                  <a:pt x="77" y="97"/>
                </a:cubicBezTo>
                <a:cubicBezTo>
                  <a:pt x="82" y="96"/>
                  <a:pt x="90" y="90"/>
                  <a:pt x="97" y="85"/>
                </a:cubicBezTo>
                <a:cubicBezTo>
                  <a:pt x="104" y="80"/>
                  <a:pt x="110" y="76"/>
                  <a:pt x="111" y="77"/>
                </a:cubicBezTo>
                <a:cubicBezTo>
                  <a:pt x="110" y="77"/>
                  <a:pt x="112" y="74"/>
                  <a:pt x="116" y="72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127" y="69"/>
                  <a:pt x="124" y="65"/>
                  <a:pt x="132" y="61"/>
                </a:cubicBezTo>
                <a:cubicBezTo>
                  <a:pt x="132" y="62"/>
                  <a:pt x="130" y="64"/>
                  <a:pt x="129" y="65"/>
                </a:cubicBezTo>
                <a:cubicBezTo>
                  <a:pt x="146" y="57"/>
                  <a:pt x="153" y="48"/>
                  <a:pt x="171" y="43"/>
                </a:cubicBezTo>
                <a:cubicBezTo>
                  <a:pt x="171" y="44"/>
                  <a:pt x="170" y="44"/>
                  <a:pt x="168" y="45"/>
                </a:cubicBezTo>
                <a:cubicBezTo>
                  <a:pt x="168" y="46"/>
                  <a:pt x="171" y="44"/>
                  <a:pt x="176" y="41"/>
                </a:cubicBezTo>
                <a:cubicBezTo>
                  <a:pt x="170" y="42"/>
                  <a:pt x="170" y="42"/>
                  <a:pt x="170" y="42"/>
                </a:cubicBezTo>
                <a:cubicBezTo>
                  <a:pt x="177" y="35"/>
                  <a:pt x="195" y="35"/>
                  <a:pt x="209" y="30"/>
                </a:cubicBezTo>
                <a:cubicBezTo>
                  <a:pt x="208" y="31"/>
                  <a:pt x="197" y="35"/>
                  <a:pt x="203" y="34"/>
                </a:cubicBezTo>
                <a:cubicBezTo>
                  <a:pt x="213" y="31"/>
                  <a:pt x="211" y="27"/>
                  <a:pt x="223" y="27"/>
                </a:cubicBezTo>
                <a:cubicBezTo>
                  <a:pt x="218" y="28"/>
                  <a:pt x="220" y="30"/>
                  <a:pt x="215" y="32"/>
                </a:cubicBezTo>
                <a:cubicBezTo>
                  <a:pt x="223" y="30"/>
                  <a:pt x="228" y="30"/>
                  <a:pt x="230" y="28"/>
                </a:cubicBezTo>
                <a:cubicBezTo>
                  <a:pt x="233" y="28"/>
                  <a:pt x="234" y="28"/>
                  <a:pt x="234" y="28"/>
                </a:cubicBezTo>
                <a:cubicBezTo>
                  <a:pt x="238" y="26"/>
                  <a:pt x="246" y="26"/>
                  <a:pt x="251" y="25"/>
                </a:cubicBezTo>
                <a:cubicBezTo>
                  <a:pt x="250" y="26"/>
                  <a:pt x="250" y="26"/>
                  <a:pt x="250" y="26"/>
                </a:cubicBezTo>
                <a:cubicBezTo>
                  <a:pt x="259" y="20"/>
                  <a:pt x="266" y="23"/>
                  <a:pt x="278" y="21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82" y="21"/>
                  <a:pt x="290" y="19"/>
                  <a:pt x="299" y="20"/>
                </a:cubicBezTo>
                <a:cubicBezTo>
                  <a:pt x="294" y="22"/>
                  <a:pt x="294" y="22"/>
                  <a:pt x="294" y="22"/>
                </a:cubicBezTo>
                <a:cubicBezTo>
                  <a:pt x="302" y="20"/>
                  <a:pt x="315" y="21"/>
                  <a:pt x="321" y="19"/>
                </a:cubicBezTo>
                <a:cubicBezTo>
                  <a:pt x="324" y="19"/>
                  <a:pt x="315" y="22"/>
                  <a:pt x="327" y="21"/>
                </a:cubicBezTo>
                <a:cubicBezTo>
                  <a:pt x="329" y="20"/>
                  <a:pt x="339" y="19"/>
                  <a:pt x="342" y="20"/>
                </a:cubicBezTo>
                <a:cubicBezTo>
                  <a:pt x="342" y="21"/>
                  <a:pt x="340" y="22"/>
                  <a:pt x="337" y="21"/>
                </a:cubicBezTo>
                <a:cubicBezTo>
                  <a:pt x="335" y="21"/>
                  <a:pt x="336" y="21"/>
                  <a:pt x="337" y="20"/>
                </a:cubicBezTo>
                <a:cubicBezTo>
                  <a:pt x="333" y="22"/>
                  <a:pt x="333" y="22"/>
                  <a:pt x="333" y="22"/>
                </a:cubicBezTo>
                <a:cubicBezTo>
                  <a:pt x="342" y="22"/>
                  <a:pt x="341" y="20"/>
                  <a:pt x="350" y="21"/>
                </a:cubicBezTo>
                <a:cubicBezTo>
                  <a:pt x="352" y="22"/>
                  <a:pt x="347" y="22"/>
                  <a:pt x="346" y="23"/>
                </a:cubicBezTo>
                <a:cubicBezTo>
                  <a:pt x="358" y="22"/>
                  <a:pt x="370" y="21"/>
                  <a:pt x="382" y="21"/>
                </a:cubicBezTo>
                <a:cubicBezTo>
                  <a:pt x="383" y="20"/>
                  <a:pt x="378" y="19"/>
                  <a:pt x="382" y="18"/>
                </a:cubicBezTo>
                <a:cubicBezTo>
                  <a:pt x="369" y="17"/>
                  <a:pt x="369" y="17"/>
                  <a:pt x="369" y="17"/>
                </a:cubicBezTo>
                <a:cubicBezTo>
                  <a:pt x="363" y="15"/>
                  <a:pt x="376" y="15"/>
                  <a:pt x="381" y="15"/>
                </a:cubicBezTo>
                <a:cubicBezTo>
                  <a:pt x="373" y="14"/>
                  <a:pt x="373" y="14"/>
                  <a:pt x="373" y="14"/>
                </a:cubicBezTo>
                <a:cubicBezTo>
                  <a:pt x="372" y="14"/>
                  <a:pt x="373" y="14"/>
                  <a:pt x="373" y="14"/>
                </a:cubicBezTo>
                <a:cubicBezTo>
                  <a:pt x="367" y="14"/>
                  <a:pt x="367" y="14"/>
                  <a:pt x="367" y="14"/>
                </a:cubicBezTo>
                <a:cubicBezTo>
                  <a:pt x="384" y="11"/>
                  <a:pt x="349" y="10"/>
                  <a:pt x="368" y="9"/>
                </a:cubicBezTo>
                <a:cubicBezTo>
                  <a:pt x="363" y="9"/>
                  <a:pt x="358" y="10"/>
                  <a:pt x="355" y="11"/>
                </a:cubicBezTo>
                <a:cubicBezTo>
                  <a:pt x="346" y="11"/>
                  <a:pt x="348" y="10"/>
                  <a:pt x="345" y="10"/>
                </a:cubicBezTo>
                <a:cubicBezTo>
                  <a:pt x="358" y="8"/>
                  <a:pt x="358" y="8"/>
                  <a:pt x="358" y="8"/>
                </a:cubicBezTo>
                <a:cubicBezTo>
                  <a:pt x="338" y="9"/>
                  <a:pt x="360" y="6"/>
                  <a:pt x="345" y="5"/>
                </a:cubicBezTo>
                <a:cubicBezTo>
                  <a:pt x="328" y="7"/>
                  <a:pt x="318" y="2"/>
                  <a:pt x="309" y="2"/>
                </a:cubicBezTo>
                <a:cubicBezTo>
                  <a:pt x="292" y="4"/>
                  <a:pt x="316" y="4"/>
                  <a:pt x="305" y="6"/>
                </a:cubicBezTo>
                <a:cubicBezTo>
                  <a:pt x="296" y="7"/>
                  <a:pt x="301" y="5"/>
                  <a:pt x="295" y="5"/>
                </a:cubicBezTo>
                <a:cubicBezTo>
                  <a:pt x="291" y="8"/>
                  <a:pt x="291" y="8"/>
                  <a:pt x="291" y="8"/>
                </a:cubicBezTo>
                <a:cubicBezTo>
                  <a:pt x="280" y="9"/>
                  <a:pt x="290" y="6"/>
                  <a:pt x="284" y="7"/>
                </a:cubicBezTo>
                <a:cubicBezTo>
                  <a:pt x="275" y="7"/>
                  <a:pt x="286" y="6"/>
                  <a:pt x="288" y="4"/>
                </a:cubicBezTo>
                <a:cubicBezTo>
                  <a:pt x="286" y="5"/>
                  <a:pt x="277" y="7"/>
                  <a:pt x="273" y="6"/>
                </a:cubicBezTo>
                <a:cubicBezTo>
                  <a:pt x="273" y="6"/>
                  <a:pt x="284" y="4"/>
                  <a:pt x="277" y="5"/>
                </a:cubicBezTo>
                <a:cubicBezTo>
                  <a:pt x="263" y="7"/>
                  <a:pt x="255" y="8"/>
                  <a:pt x="247" y="9"/>
                </a:cubicBezTo>
                <a:cubicBezTo>
                  <a:pt x="239" y="10"/>
                  <a:pt x="231" y="11"/>
                  <a:pt x="219" y="14"/>
                </a:cubicBezTo>
                <a:cubicBezTo>
                  <a:pt x="221" y="12"/>
                  <a:pt x="221" y="12"/>
                  <a:pt x="221" y="12"/>
                </a:cubicBezTo>
                <a:cubicBezTo>
                  <a:pt x="218" y="13"/>
                  <a:pt x="216" y="14"/>
                  <a:pt x="213" y="15"/>
                </a:cubicBezTo>
                <a:cubicBezTo>
                  <a:pt x="215" y="13"/>
                  <a:pt x="215" y="13"/>
                  <a:pt x="215" y="13"/>
                </a:cubicBezTo>
                <a:cubicBezTo>
                  <a:pt x="213" y="14"/>
                  <a:pt x="206" y="16"/>
                  <a:pt x="198" y="19"/>
                </a:cubicBezTo>
                <a:cubicBezTo>
                  <a:pt x="172" y="28"/>
                  <a:pt x="172" y="28"/>
                  <a:pt x="172" y="28"/>
                </a:cubicBezTo>
                <a:cubicBezTo>
                  <a:pt x="179" y="23"/>
                  <a:pt x="179" y="23"/>
                  <a:pt x="179" y="23"/>
                </a:cubicBezTo>
                <a:cubicBezTo>
                  <a:pt x="175" y="26"/>
                  <a:pt x="170" y="28"/>
                  <a:pt x="166" y="30"/>
                </a:cubicBezTo>
                <a:cubicBezTo>
                  <a:pt x="167" y="27"/>
                  <a:pt x="167" y="27"/>
                  <a:pt x="167" y="27"/>
                </a:cubicBezTo>
                <a:cubicBezTo>
                  <a:pt x="163" y="31"/>
                  <a:pt x="146" y="36"/>
                  <a:pt x="134" y="43"/>
                </a:cubicBezTo>
                <a:cubicBezTo>
                  <a:pt x="134" y="42"/>
                  <a:pt x="134" y="42"/>
                  <a:pt x="134" y="42"/>
                </a:cubicBezTo>
                <a:cubicBezTo>
                  <a:pt x="131" y="43"/>
                  <a:pt x="129" y="45"/>
                  <a:pt x="126" y="46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21" y="48"/>
                  <a:pt x="113" y="55"/>
                  <a:pt x="105" y="59"/>
                </a:cubicBezTo>
                <a:cubicBezTo>
                  <a:pt x="110" y="56"/>
                  <a:pt x="110" y="54"/>
                  <a:pt x="109" y="53"/>
                </a:cubicBezTo>
                <a:close/>
                <a:moveTo>
                  <a:pt x="136" y="282"/>
                </a:moveTo>
                <a:cubicBezTo>
                  <a:pt x="140" y="282"/>
                  <a:pt x="140" y="282"/>
                  <a:pt x="140" y="282"/>
                </a:cubicBezTo>
                <a:cubicBezTo>
                  <a:pt x="138" y="282"/>
                  <a:pt x="137" y="282"/>
                  <a:pt x="136" y="282"/>
                </a:cubicBezTo>
                <a:cubicBezTo>
                  <a:pt x="130" y="282"/>
                  <a:pt x="130" y="282"/>
                  <a:pt x="130" y="282"/>
                </a:cubicBezTo>
                <a:cubicBezTo>
                  <a:pt x="131" y="281"/>
                  <a:pt x="133" y="282"/>
                  <a:pt x="136" y="282"/>
                </a:cubicBezTo>
                <a:close/>
                <a:moveTo>
                  <a:pt x="345" y="25"/>
                </a:moveTo>
                <a:cubicBezTo>
                  <a:pt x="348" y="27"/>
                  <a:pt x="351" y="28"/>
                  <a:pt x="354" y="29"/>
                </a:cubicBezTo>
                <a:cubicBezTo>
                  <a:pt x="352" y="28"/>
                  <a:pt x="346" y="26"/>
                  <a:pt x="349" y="26"/>
                </a:cubicBezTo>
                <a:cubicBezTo>
                  <a:pt x="347" y="26"/>
                  <a:pt x="344" y="24"/>
                  <a:pt x="345" y="25"/>
                </a:cubicBezTo>
                <a:close/>
                <a:moveTo>
                  <a:pt x="124" y="268"/>
                </a:moveTo>
                <a:cubicBezTo>
                  <a:pt x="129" y="267"/>
                  <a:pt x="129" y="267"/>
                  <a:pt x="129" y="267"/>
                </a:cubicBezTo>
                <a:cubicBezTo>
                  <a:pt x="132" y="269"/>
                  <a:pt x="132" y="269"/>
                  <a:pt x="132" y="269"/>
                </a:cubicBezTo>
                <a:lnTo>
                  <a:pt x="124" y="268"/>
                </a:lnTo>
                <a:close/>
                <a:moveTo>
                  <a:pt x="52" y="251"/>
                </a:moveTo>
                <a:cubicBezTo>
                  <a:pt x="55" y="251"/>
                  <a:pt x="57" y="252"/>
                  <a:pt x="60" y="253"/>
                </a:cubicBezTo>
                <a:cubicBezTo>
                  <a:pt x="61" y="253"/>
                  <a:pt x="61" y="253"/>
                  <a:pt x="61" y="253"/>
                </a:cubicBezTo>
                <a:cubicBezTo>
                  <a:pt x="58" y="253"/>
                  <a:pt x="55" y="252"/>
                  <a:pt x="53" y="251"/>
                </a:cubicBezTo>
                <a:lnTo>
                  <a:pt x="52" y="251"/>
                </a:lnTo>
                <a:close/>
                <a:moveTo>
                  <a:pt x="12" y="163"/>
                </a:moveTo>
                <a:cubicBezTo>
                  <a:pt x="12" y="169"/>
                  <a:pt x="9" y="170"/>
                  <a:pt x="8" y="177"/>
                </a:cubicBezTo>
                <a:cubicBezTo>
                  <a:pt x="8" y="178"/>
                  <a:pt x="8" y="178"/>
                  <a:pt x="8" y="179"/>
                </a:cubicBezTo>
                <a:cubicBezTo>
                  <a:pt x="8" y="178"/>
                  <a:pt x="8" y="178"/>
                  <a:pt x="8" y="177"/>
                </a:cubicBezTo>
                <a:cubicBezTo>
                  <a:pt x="8" y="173"/>
                  <a:pt x="7" y="168"/>
                  <a:pt x="12" y="163"/>
                </a:cubicBezTo>
                <a:close/>
                <a:moveTo>
                  <a:pt x="117" y="278"/>
                </a:moveTo>
                <a:cubicBezTo>
                  <a:pt x="117" y="279"/>
                  <a:pt x="107" y="278"/>
                  <a:pt x="104" y="278"/>
                </a:cubicBezTo>
                <a:cubicBezTo>
                  <a:pt x="100" y="278"/>
                  <a:pt x="106" y="277"/>
                  <a:pt x="107" y="277"/>
                </a:cubicBezTo>
                <a:cubicBezTo>
                  <a:pt x="105" y="276"/>
                  <a:pt x="104" y="276"/>
                  <a:pt x="101" y="276"/>
                </a:cubicBezTo>
                <a:cubicBezTo>
                  <a:pt x="103" y="273"/>
                  <a:pt x="109" y="278"/>
                  <a:pt x="117" y="278"/>
                </a:cubicBezTo>
                <a:close/>
                <a:moveTo>
                  <a:pt x="301" y="267"/>
                </a:moveTo>
                <a:cubicBezTo>
                  <a:pt x="294" y="270"/>
                  <a:pt x="294" y="270"/>
                  <a:pt x="294" y="270"/>
                </a:cubicBezTo>
                <a:cubicBezTo>
                  <a:pt x="296" y="269"/>
                  <a:pt x="296" y="269"/>
                  <a:pt x="296" y="269"/>
                </a:cubicBezTo>
                <a:lnTo>
                  <a:pt x="301" y="267"/>
                </a:lnTo>
                <a:close/>
                <a:moveTo>
                  <a:pt x="338" y="257"/>
                </a:moveTo>
                <a:cubicBezTo>
                  <a:pt x="347" y="254"/>
                  <a:pt x="353" y="250"/>
                  <a:pt x="351" y="249"/>
                </a:cubicBezTo>
                <a:cubicBezTo>
                  <a:pt x="344" y="252"/>
                  <a:pt x="334" y="255"/>
                  <a:pt x="330" y="258"/>
                </a:cubicBezTo>
                <a:cubicBezTo>
                  <a:pt x="334" y="256"/>
                  <a:pt x="329" y="262"/>
                  <a:pt x="338" y="257"/>
                </a:cubicBezTo>
                <a:close/>
                <a:moveTo>
                  <a:pt x="36" y="250"/>
                </a:moveTo>
                <a:cubicBezTo>
                  <a:pt x="33" y="248"/>
                  <a:pt x="29" y="246"/>
                  <a:pt x="27" y="244"/>
                </a:cubicBezTo>
                <a:cubicBezTo>
                  <a:pt x="31" y="248"/>
                  <a:pt x="40" y="250"/>
                  <a:pt x="49" y="256"/>
                </a:cubicBezTo>
                <a:cubicBezTo>
                  <a:pt x="46" y="255"/>
                  <a:pt x="43" y="254"/>
                  <a:pt x="41" y="253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0" y="254"/>
                  <a:pt x="40" y="254"/>
                  <a:pt x="40" y="254"/>
                </a:cubicBezTo>
                <a:cubicBezTo>
                  <a:pt x="42" y="253"/>
                  <a:pt x="39" y="252"/>
                  <a:pt x="36" y="250"/>
                </a:cubicBezTo>
                <a:close/>
                <a:moveTo>
                  <a:pt x="405" y="226"/>
                </a:moveTo>
                <a:cubicBezTo>
                  <a:pt x="407" y="225"/>
                  <a:pt x="410" y="222"/>
                  <a:pt x="412" y="220"/>
                </a:cubicBezTo>
                <a:cubicBezTo>
                  <a:pt x="414" y="218"/>
                  <a:pt x="416" y="215"/>
                  <a:pt x="415" y="215"/>
                </a:cubicBezTo>
                <a:cubicBezTo>
                  <a:pt x="416" y="215"/>
                  <a:pt x="414" y="217"/>
                  <a:pt x="411" y="220"/>
                </a:cubicBezTo>
                <a:cubicBezTo>
                  <a:pt x="407" y="223"/>
                  <a:pt x="403" y="227"/>
                  <a:pt x="400" y="229"/>
                </a:cubicBezTo>
                <a:cubicBezTo>
                  <a:pt x="402" y="227"/>
                  <a:pt x="403" y="227"/>
                  <a:pt x="405" y="226"/>
                </a:cubicBezTo>
                <a:close/>
                <a:moveTo>
                  <a:pt x="401" y="226"/>
                </a:moveTo>
                <a:cubicBezTo>
                  <a:pt x="397" y="227"/>
                  <a:pt x="398" y="226"/>
                  <a:pt x="391" y="230"/>
                </a:cubicBezTo>
                <a:cubicBezTo>
                  <a:pt x="393" y="230"/>
                  <a:pt x="392" y="235"/>
                  <a:pt x="381" y="238"/>
                </a:cubicBezTo>
                <a:cubicBezTo>
                  <a:pt x="388" y="233"/>
                  <a:pt x="388" y="232"/>
                  <a:pt x="398" y="225"/>
                </a:cubicBezTo>
                <a:lnTo>
                  <a:pt x="401" y="226"/>
                </a:lnTo>
                <a:close/>
                <a:moveTo>
                  <a:pt x="386" y="238"/>
                </a:moveTo>
                <a:cubicBezTo>
                  <a:pt x="382" y="240"/>
                  <a:pt x="377" y="241"/>
                  <a:pt x="373" y="243"/>
                </a:cubicBezTo>
                <a:cubicBezTo>
                  <a:pt x="379" y="237"/>
                  <a:pt x="381" y="239"/>
                  <a:pt x="386" y="238"/>
                </a:cubicBezTo>
                <a:cubicBezTo>
                  <a:pt x="390" y="237"/>
                  <a:pt x="390" y="237"/>
                  <a:pt x="390" y="237"/>
                </a:cubicBezTo>
                <a:cubicBezTo>
                  <a:pt x="389" y="237"/>
                  <a:pt x="387" y="238"/>
                  <a:pt x="386" y="238"/>
                </a:cubicBezTo>
                <a:close/>
                <a:moveTo>
                  <a:pt x="453" y="169"/>
                </a:moveTo>
                <a:cubicBezTo>
                  <a:pt x="452" y="169"/>
                  <a:pt x="453" y="168"/>
                  <a:pt x="454" y="163"/>
                </a:cubicBezTo>
                <a:cubicBezTo>
                  <a:pt x="454" y="164"/>
                  <a:pt x="454" y="165"/>
                  <a:pt x="454" y="167"/>
                </a:cubicBezTo>
                <a:cubicBezTo>
                  <a:pt x="455" y="166"/>
                  <a:pt x="455" y="167"/>
                  <a:pt x="454" y="172"/>
                </a:cubicBezTo>
                <a:cubicBezTo>
                  <a:pt x="454" y="170"/>
                  <a:pt x="454" y="169"/>
                  <a:pt x="454" y="167"/>
                </a:cubicBezTo>
                <a:cubicBezTo>
                  <a:pt x="454" y="167"/>
                  <a:pt x="453" y="169"/>
                  <a:pt x="453" y="169"/>
                </a:cubicBezTo>
                <a:close/>
                <a:moveTo>
                  <a:pt x="398" y="232"/>
                </a:moveTo>
                <a:cubicBezTo>
                  <a:pt x="402" y="230"/>
                  <a:pt x="406" y="227"/>
                  <a:pt x="410" y="225"/>
                </a:cubicBezTo>
                <a:cubicBezTo>
                  <a:pt x="406" y="227"/>
                  <a:pt x="398" y="231"/>
                  <a:pt x="398" y="232"/>
                </a:cubicBezTo>
                <a:close/>
                <a:moveTo>
                  <a:pt x="448" y="179"/>
                </a:moveTo>
                <a:cubicBezTo>
                  <a:pt x="447" y="183"/>
                  <a:pt x="444" y="186"/>
                  <a:pt x="444" y="186"/>
                </a:cubicBezTo>
                <a:cubicBezTo>
                  <a:pt x="443" y="187"/>
                  <a:pt x="445" y="184"/>
                  <a:pt x="447" y="181"/>
                </a:cubicBezTo>
                <a:cubicBezTo>
                  <a:pt x="449" y="177"/>
                  <a:pt x="450" y="172"/>
                  <a:pt x="451" y="169"/>
                </a:cubicBezTo>
                <a:cubicBezTo>
                  <a:pt x="451" y="171"/>
                  <a:pt x="450" y="175"/>
                  <a:pt x="448" y="179"/>
                </a:cubicBezTo>
                <a:close/>
                <a:moveTo>
                  <a:pt x="253" y="5"/>
                </a:moveTo>
                <a:cubicBezTo>
                  <a:pt x="257" y="7"/>
                  <a:pt x="257" y="7"/>
                  <a:pt x="257" y="7"/>
                </a:cubicBezTo>
                <a:cubicBezTo>
                  <a:pt x="249" y="6"/>
                  <a:pt x="249" y="6"/>
                  <a:pt x="249" y="6"/>
                </a:cubicBezTo>
                <a:lnTo>
                  <a:pt x="253" y="5"/>
                </a:lnTo>
                <a:close/>
                <a:moveTo>
                  <a:pt x="335" y="26"/>
                </a:moveTo>
                <a:cubicBezTo>
                  <a:pt x="336" y="27"/>
                  <a:pt x="338" y="27"/>
                  <a:pt x="339" y="28"/>
                </a:cubicBezTo>
                <a:cubicBezTo>
                  <a:pt x="341" y="29"/>
                  <a:pt x="341" y="29"/>
                  <a:pt x="341" y="29"/>
                </a:cubicBezTo>
                <a:cubicBezTo>
                  <a:pt x="339" y="28"/>
                  <a:pt x="337" y="27"/>
                  <a:pt x="335" y="26"/>
                </a:cubicBezTo>
                <a:close/>
                <a:moveTo>
                  <a:pt x="415" y="80"/>
                </a:moveTo>
                <a:cubicBezTo>
                  <a:pt x="413" y="79"/>
                  <a:pt x="413" y="78"/>
                  <a:pt x="413" y="78"/>
                </a:cubicBezTo>
                <a:cubicBezTo>
                  <a:pt x="409" y="72"/>
                  <a:pt x="396" y="60"/>
                  <a:pt x="388" y="55"/>
                </a:cubicBezTo>
                <a:cubicBezTo>
                  <a:pt x="386" y="52"/>
                  <a:pt x="396" y="58"/>
                  <a:pt x="399" y="59"/>
                </a:cubicBezTo>
                <a:cubicBezTo>
                  <a:pt x="395" y="60"/>
                  <a:pt x="398" y="62"/>
                  <a:pt x="402" y="65"/>
                </a:cubicBezTo>
                <a:cubicBezTo>
                  <a:pt x="406" y="67"/>
                  <a:pt x="412" y="71"/>
                  <a:pt x="414" y="75"/>
                </a:cubicBezTo>
                <a:cubicBezTo>
                  <a:pt x="412" y="74"/>
                  <a:pt x="408" y="70"/>
                  <a:pt x="406" y="69"/>
                </a:cubicBezTo>
                <a:cubicBezTo>
                  <a:pt x="408" y="71"/>
                  <a:pt x="412" y="75"/>
                  <a:pt x="414" y="77"/>
                </a:cubicBezTo>
                <a:cubicBezTo>
                  <a:pt x="415" y="78"/>
                  <a:pt x="416" y="78"/>
                  <a:pt x="417" y="79"/>
                </a:cubicBezTo>
                <a:cubicBezTo>
                  <a:pt x="416" y="79"/>
                  <a:pt x="415" y="78"/>
                  <a:pt x="414" y="77"/>
                </a:cubicBezTo>
                <a:cubicBezTo>
                  <a:pt x="413" y="77"/>
                  <a:pt x="413" y="77"/>
                  <a:pt x="413" y="78"/>
                </a:cubicBezTo>
                <a:cubicBezTo>
                  <a:pt x="414" y="79"/>
                  <a:pt x="414" y="80"/>
                  <a:pt x="415" y="80"/>
                </a:cubicBezTo>
                <a:close/>
                <a:moveTo>
                  <a:pt x="437" y="188"/>
                </a:moveTo>
                <a:cubicBezTo>
                  <a:pt x="436" y="190"/>
                  <a:pt x="439" y="186"/>
                  <a:pt x="436" y="193"/>
                </a:cubicBezTo>
                <a:cubicBezTo>
                  <a:pt x="435" y="193"/>
                  <a:pt x="436" y="191"/>
                  <a:pt x="437" y="188"/>
                </a:cubicBezTo>
                <a:cubicBezTo>
                  <a:pt x="437" y="187"/>
                  <a:pt x="438" y="186"/>
                  <a:pt x="439" y="183"/>
                </a:cubicBezTo>
                <a:cubicBezTo>
                  <a:pt x="438" y="185"/>
                  <a:pt x="438" y="186"/>
                  <a:pt x="437" y="188"/>
                </a:cubicBezTo>
                <a:close/>
                <a:moveTo>
                  <a:pt x="437" y="181"/>
                </a:moveTo>
                <a:cubicBezTo>
                  <a:pt x="436" y="186"/>
                  <a:pt x="433" y="191"/>
                  <a:pt x="430" y="196"/>
                </a:cubicBezTo>
                <a:cubicBezTo>
                  <a:pt x="431" y="194"/>
                  <a:pt x="432" y="192"/>
                  <a:pt x="433" y="191"/>
                </a:cubicBezTo>
                <a:cubicBezTo>
                  <a:pt x="431" y="194"/>
                  <a:pt x="429" y="197"/>
                  <a:pt x="427" y="200"/>
                </a:cubicBezTo>
                <a:cubicBezTo>
                  <a:pt x="427" y="198"/>
                  <a:pt x="432" y="189"/>
                  <a:pt x="437" y="181"/>
                </a:cubicBezTo>
                <a:close/>
                <a:moveTo>
                  <a:pt x="411" y="214"/>
                </a:moveTo>
                <a:cubicBezTo>
                  <a:pt x="416" y="210"/>
                  <a:pt x="420" y="206"/>
                  <a:pt x="424" y="201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4" y="201"/>
                  <a:pt x="424" y="201"/>
                  <a:pt x="424" y="201"/>
                </a:cubicBezTo>
                <a:cubicBezTo>
                  <a:pt x="424" y="202"/>
                  <a:pt x="423" y="203"/>
                  <a:pt x="423" y="204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0" y="206"/>
                  <a:pt x="415" y="210"/>
                  <a:pt x="411" y="214"/>
                </a:cubicBezTo>
                <a:close/>
                <a:moveTo>
                  <a:pt x="273" y="268"/>
                </a:moveTo>
                <a:cubicBezTo>
                  <a:pt x="265" y="269"/>
                  <a:pt x="265" y="269"/>
                  <a:pt x="265" y="269"/>
                </a:cubicBezTo>
                <a:cubicBezTo>
                  <a:pt x="266" y="269"/>
                  <a:pt x="275" y="266"/>
                  <a:pt x="282" y="265"/>
                </a:cubicBezTo>
                <a:cubicBezTo>
                  <a:pt x="272" y="263"/>
                  <a:pt x="279" y="266"/>
                  <a:pt x="263" y="267"/>
                </a:cubicBezTo>
                <a:cubicBezTo>
                  <a:pt x="281" y="264"/>
                  <a:pt x="274" y="263"/>
                  <a:pt x="273" y="262"/>
                </a:cubicBezTo>
                <a:cubicBezTo>
                  <a:pt x="271" y="263"/>
                  <a:pt x="265" y="265"/>
                  <a:pt x="259" y="266"/>
                </a:cubicBezTo>
                <a:cubicBezTo>
                  <a:pt x="254" y="267"/>
                  <a:pt x="250" y="268"/>
                  <a:pt x="254" y="270"/>
                </a:cubicBezTo>
                <a:cubicBezTo>
                  <a:pt x="260" y="269"/>
                  <a:pt x="269" y="271"/>
                  <a:pt x="273" y="268"/>
                </a:cubicBezTo>
                <a:close/>
                <a:moveTo>
                  <a:pt x="160" y="273"/>
                </a:moveTo>
                <a:cubicBezTo>
                  <a:pt x="149" y="273"/>
                  <a:pt x="149" y="273"/>
                  <a:pt x="149" y="273"/>
                </a:cubicBezTo>
                <a:cubicBezTo>
                  <a:pt x="161" y="273"/>
                  <a:pt x="161" y="273"/>
                  <a:pt x="161" y="273"/>
                </a:cubicBezTo>
                <a:lnTo>
                  <a:pt x="160" y="273"/>
                </a:lnTo>
                <a:close/>
                <a:moveTo>
                  <a:pt x="71" y="103"/>
                </a:moveTo>
                <a:cubicBezTo>
                  <a:pt x="70" y="106"/>
                  <a:pt x="58" y="115"/>
                  <a:pt x="58" y="114"/>
                </a:cubicBezTo>
                <a:cubicBezTo>
                  <a:pt x="60" y="113"/>
                  <a:pt x="66" y="107"/>
                  <a:pt x="71" y="103"/>
                </a:cubicBezTo>
                <a:close/>
                <a:moveTo>
                  <a:pt x="162" y="45"/>
                </a:moveTo>
                <a:cubicBezTo>
                  <a:pt x="156" y="47"/>
                  <a:pt x="149" y="53"/>
                  <a:pt x="146" y="52"/>
                </a:cubicBezTo>
                <a:cubicBezTo>
                  <a:pt x="149" y="50"/>
                  <a:pt x="153" y="48"/>
                  <a:pt x="157" y="46"/>
                </a:cubicBezTo>
                <a:cubicBezTo>
                  <a:pt x="159" y="46"/>
                  <a:pt x="163" y="44"/>
                  <a:pt x="162" y="45"/>
                </a:cubicBezTo>
                <a:close/>
                <a:moveTo>
                  <a:pt x="237" y="24"/>
                </a:moveTo>
                <a:cubicBezTo>
                  <a:pt x="240" y="21"/>
                  <a:pt x="240" y="21"/>
                  <a:pt x="240" y="21"/>
                </a:cubicBezTo>
                <a:cubicBezTo>
                  <a:pt x="236" y="22"/>
                  <a:pt x="236" y="22"/>
                  <a:pt x="236" y="22"/>
                </a:cubicBezTo>
                <a:lnTo>
                  <a:pt x="237" y="24"/>
                </a:lnTo>
                <a:close/>
                <a:moveTo>
                  <a:pt x="224" y="29"/>
                </a:moveTo>
                <a:cubicBezTo>
                  <a:pt x="226" y="29"/>
                  <a:pt x="234" y="27"/>
                  <a:pt x="232" y="26"/>
                </a:cubicBezTo>
                <a:lnTo>
                  <a:pt x="224" y="29"/>
                </a:lnTo>
                <a:close/>
                <a:moveTo>
                  <a:pt x="305" y="15"/>
                </a:moveTo>
                <a:cubicBezTo>
                  <a:pt x="300" y="18"/>
                  <a:pt x="300" y="18"/>
                  <a:pt x="300" y="18"/>
                </a:cubicBezTo>
                <a:cubicBezTo>
                  <a:pt x="305" y="17"/>
                  <a:pt x="305" y="17"/>
                  <a:pt x="305" y="17"/>
                </a:cubicBezTo>
                <a:lnTo>
                  <a:pt x="305" y="15"/>
                </a:lnTo>
                <a:close/>
                <a:moveTo>
                  <a:pt x="299" y="14"/>
                </a:moveTo>
                <a:cubicBezTo>
                  <a:pt x="298" y="14"/>
                  <a:pt x="297" y="15"/>
                  <a:pt x="297" y="16"/>
                </a:cubicBezTo>
                <a:cubicBezTo>
                  <a:pt x="294" y="16"/>
                  <a:pt x="289" y="17"/>
                  <a:pt x="285" y="17"/>
                </a:cubicBezTo>
                <a:cubicBezTo>
                  <a:pt x="285" y="16"/>
                  <a:pt x="289" y="16"/>
                  <a:pt x="291" y="16"/>
                </a:cubicBezTo>
                <a:cubicBezTo>
                  <a:pt x="289" y="16"/>
                  <a:pt x="286" y="15"/>
                  <a:pt x="282" y="16"/>
                </a:cubicBezTo>
                <a:cubicBezTo>
                  <a:pt x="287" y="18"/>
                  <a:pt x="284" y="18"/>
                  <a:pt x="284" y="20"/>
                </a:cubicBezTo>
                <a:cubicBezTo>
                  <a:pt x="296" y="19"/>
                  <a:pt x="296" y="17"/>
                  <a:pt x="297" y="16"/>
                </a:cubicBezTo>
                <a:cubicBezTo>
                  <a:pt x="298" y="15"/>
                  <a:pt x="299" y="14"/>
                  <a:pt x="299" y="14"/>
                </a:cubicBezTo>
                <a:close/>
                <a:moveTo>
                  <a:pt x="256" y="19"/>
                </a:moveTo>
                <a:cubicBezTo>
                  <a:pt x="258" y="19"/>
                  <a:pt x="258" y="19"/>
                  <a:pt x="259" y="19"/>
                </a:cubicBezTo>
                <a:cubicBezTo>
                  <a:pt x="266" y="19"/>
                  <a:pt x="274" y="18"/>
                  <a:pt x="266" y="21"/>
                </a:cubicBezTo>
                <a:cubicBezTo>
                  <a:pt x="259" y="22"/>
                  <a:pt x="259" y="22"/>
                  <a:pt x="259" y="22"/>
                </a:cubicBezTo>
                <a:cubicBezTo>
                  <a:pt x="262" y="22"/>
                  <a:pt x="262" y="21"/>
                  <a:pt x="262" y="21"/>
                </a:cubicBezTo>
                <a:cubicBezTo>
                  <a:pt x="257" y="21"/>
                  <a:pt x="254" y="23"/>
                  <a:pt x="250" y="24"/>
                </a:cubicBezTo>
                <a:cubicBezTo>
                  <a:pt x="252" y="23"/>
                  <a:pt x="260" y="21"/>
                  <a:pt x="259" y="19"/>
                </a:cubicBezTo>
                <a:cubicBezTo>
                  <a:pt x="253" y="20"/>
                  <a:pt x="253" y="20"/>
                  <a:pt x="253" y="20"/>
                </a:cubicBezTo>
                <a:cubicBezTo>
                  <a:pt x="251" y="20"/>
                  <a:pt x="250" y="21"/>
                  <a:pt x="248" y="20"/>
                </a:cubicBezTo>
                <a:cubicBezTo>
                  <a:pt x="249" y="20"/>
                  <a:pt x="249" y="20"/>
                  <a:pt x="249" y="20"/>
                </a:cubicBezTo>
                <a:cubicBezTo>
                  <a:pt x="250" y="20"/>
                  <a:pt x="251" y="20"/>
                  <a:pt x="253" y="20"/>
                </a:cubicBezTo>
                <a:cubicBezTo>
                  <a:pt x="254" y="19"/>
                  <a:pt x="255" y="19"/>
                  <a:pt x="256" y="19"/>
                </a:cubicBezTo>
                <a:close/>
                <a:moveTo>
                  <a:pt x="305" y="12"/>
                </a:moveTo>
                <a:cubicBezTo>
                  <a:pt x="306" y="11"/>
                  <a:pt x="305" y="11"/>
                  <a:pt x="307" y="10"/>
                </a:cubicBezTo>
                <a:cubicBezTo>
                  <a:pt x="311" y="10"/>
                  <a:pt x="311" y="10"/>
                  <a:pt x="311" y="10"/>
                </a:cubicBezTo>
                <a:cubicBezTo>
                  <a:pt x="316" y="10"/>
                  <a:pt x="310" y="11"/>
                  <a:pt x="305" y="12"/>
                </a:cubicBezTo>
                <a:close/>
                <a:moveTo>
                  <a:pt x="92" y="83"/>
                </a:moveTo>
                <a:cubicBezTo>
                  <a:pt x="91" y="84"/>
                  <a:pt x="81" y="92"/>
                  <a:pt x="82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3" y="90"/>
                  <a:pt x="87" y="85"/>
                  <a:pt x="85" y="86"/>
                </a:cubicBezTo>
                <a:cubicBezTo>
                  <a:pt x="89" y="84"/>
                  <a:pt x="93" y="81"/>
                  <a:pt x="92" y="83"/>
                </a:cubicBezTo>
                <a:close/>
                <a:moveTo>
                  <a:pt x="142" y="272"/>
                </a:moveTo>
                <a:cubicBezTo>
                  <a:pt x="139" y="272"/>
                  <a:pt x="123" y="269"/>
                  <a:pt x="121" y="272"/>
                </a:cubicBezTo>
                <a:cubicBezTo>
                  <a:pt x="116" y="268"/>
                  <a:pt x="134" y="271"/>
                  <a:pt x="142" y="272"/>
                </a:cubicBezTo>
                <a:close/>
                <a:moveTo>
                  <a:pt x="144" y="275"/>
                </a:moveTo>
                <a:cubicBezTo>
                  <a:pt x="145" y="275"/>
                  <a:pt x="146" y="275"/>
                  <a:pt x="148" y="275"/>
                </a:cubicBezTo>
                <a:cubicBezTo>
                  <a:pt x="152" y="275"/>
                  <a:pt x="152" y="273"/>
                  <a:pt x="160" y="274"/>
                </a:cubicBezTo>
                <a:cubicBezTo>
                  <a:pt x="158" y="275"/>
                  <a:pt x="155" y="274"/>
                  <a:pt x="153" y="274"/>
                </a:cubicBezTo>
                <a:cubicBezTo>
                  <a:pt x="153" y="276"/>
                  <a:pt x="152" y="275"/>
                  <a:pt x="148" y="275"/>
                </a:cubicBezTo>
                <a:cubicBezTo>
                  <a:pt x="146" y="275"/>
                  <a:pt x="145" y="275"/>
                  <a:pt x="144" y="275"/>
                </a:cubicBezTo>
                <a:close/>
                <a:moveTo>
                  <a:pt x="9" y="190"/>
                </a:moveTo>
                <a:cubicBezTo>
                  <a:pt x="9" y="193"/>
                  <a:pt x="9" y="196"/>
                  <a:pt x="9" y="199"/>
                </a:cubicBezTo>
                <a:cubicBezTo>
                  <a:pt x="9" y="201"/>
                  <a:pt x="10" y="203"/>
                  <a:pt x="11" y="205"/>
                </a:cubicBezTo>
                <a:cubicBezTo>
                  <a:pt x="10" y="200"/>
                  <a:pt x="9" y="195"/>
                  <a:pt x="9" y="190"/>
                </a:cubicBezTo>
                <a:close/>
                <a:moveTo>
                  <a:pt x="48" y="114"/>
                </a:moveTo>
                <a:cubicBezTo>
                  <a:pt x="46" y="116"/>
                  <a:pt x="45" y="117"/>
                  <a:pt x="43" y="119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18"/>
                  <a:pt x="47" y="117"/>
                  <a:pt x="46" y="119"/>
                </a:cubicBezTo>
                <a:cubicBezTo>
                  <a:pt x="45" y="120"/>
                  <a:pt x="44" y="121"/>
                  <a:pt x="44" y="122"/>
                </a:cubicBezTo>
                <a:cubicBezTo>
                  <a:pt x="45" y="121"/>
                  <a:pt x="46" y="120"/>
                  <a:pt x="46" y="119"/>
                </a:cubicBezTo>
                <a:cubicBezTo>
                  <a:pt x="49" y="115"/>
                  <a:pt x="54" y="110"/>
                  <a:pt x="54" y="109"/>
                </a:cubicBezTo>
                <a:cubicBezTo>
                  <a:pt x="52" y="111"/>
                  <a:pt x="46" y="118"/>
                  <a:pt x="45" y="117"/>
                </a:cubicBezTo>
                <a:lnTo>
                  <a:pt x="48" y="114"/>
                </a:lnTo>
                <a:close/>
                <a:moveTo>
                  <a:pt x="196" y="24"/>
                </a:moveTo>
                <a:cubicBezTo>
                  <a:pt x="192" y="25"/>
                  <a:pt x="191" y="26"/>
                  <a:pt x="185" y="26"/>
                </a:cubicBezTo>
                <a:cubicBezTo>
                  <a:pt x="189" y="25"/>
                  <a:pt x="194" y="23"/>
                  <a:pt x="196" y="24"/>
                </a:cubicBezTo>
                <a:close/>
                <a:moveTo>
                  <a:pt x="20" y="148"/>
                </a:moveTo>
                <a:cubicBezTo>
                  <a:pt x="21" y="149"/>
                  <a:pt x="16" y="157"/>
                  <a:pt x="19" y="155"/>
                </a:cubicBezTo>
                <a:cubicBezTo>
                  <a:pt x="21" y="151"/>
                  <a:pt x="21" y="151"/>
                  <a:pt x="21" y="151"/>
                </a:cubicBezTo>
                <a:cubicBezTo>
                  <a:pt x="18" y="157"/>
                  <a:pt x="21" y="156"/>
                  <a:pt x="16" y="163"/>
                </a:cubicBezTo>
                <a:cubicBezTo>
                  <a:pt x="17" y="162"/>
                  <a:pt x="18" y="160"/>
                  <a:pt x="19" y="158"/>
                </a:cubicBezTo>
                <a:cubicBezTo>
                  <a:pt x="15" y="164"/>
                  <a:pt x="21" y="150"/>
                  <a:pt x="15" y="159"/>
                </a:cubicBezTo>
                <a:cubicBezTo>
                  <a:pt x="13" y="163"/>
                  <a:pt x="17" y="152"/>
                  <a:pt x="20" y="148"/>
                </a:cubicBezTo>
                <a:close/>
                <a:moveTo>
                  <a:pt x="208" y="17"/>
                </a:moveTo>
                <a:cubicBezTo>
                  <a:pt x="202" y="19"/>
                  <a:pt x="204" y="21"/>
                  <a:pt x="194" y="23"/>
                </a:cubicBezTo>
                <a:cubicBezTo>
                  <a:pt x="201" y="20"/>
                  <a:pt x="199" y="18"/>
                  <a:pt x="208" y="17"/>
                </a:cubicBezTo>
                <a:close/>
                <a:moveTo>
                  <a:pt x="57" y="96"/>
                </a:moveTo>
                <a:cubicBezTo>
                  <a:pt x="56" y="97"/>
                  <a:pt x="56" y="97"/>
                  <a:pt x="56" y="97"/>
                </a:cubicBezTo>
                <a:cubicBezTo>
                  <a:pt x="50" y="103"/>
                  <a:pt x="50" y="103"/>
                  <a:pt x="50" y="103"/>
                </a:cubicBezTo>
                <a:cubicBezTo>
                  <a:pt x="51" y="103"/>
                  <a:pt x="51" y="103"/>
                  <a:pt x="51" y="103"/>
                </a:cubicBezTo>
                <a:lnTo>
                  <a:pt x="57" y="96"/>
                </a:lnTo>
                <a:close/>
                <a:moveTo>
                  <a:pt x="210" y="33"/>
                </a:moveTo>
                <a:cubicBezTo>
                  <a:pt x="212" y="33"/>
                  <a:pt x="214" y="32"/>
                  <a:pt x="215" y="32"/>
                </a:cubicBezTo>
                <a:cubicBezTo>
                  <a:pt x="213" y="32"/>
                  <a:pt x="212" y="32"/>
                  <a:pt x="210" y="33"/>
                </a:cubicBezTo>
                <a:close/>
                <a:moveTo>
                  <a:pt x="172" y="266"/>
                </a:moveTo>
                <a:cubicBezTo>
                  <a:pt x="173" y="267"/>
                  <a:pt x="173" y="267"/>
                  <a:pt x="175" y="267"/>
                </a:cubicBezTo>
                <a:cubicBezTo>
                  <a:pt x="174" y="267"/>
                  <a:pt x="174" y="267"/>
                  <a:pt x="172" y="266"/>
                </a:cubicBezTo>
                <a:close/>
                <a:moveTo>
                  <a:pt x="192" y="266"/>
                </a:moveTo>
                <a:cubicBezTo>
                  <a:pt x="192" y="266"/>
                  <a:pt x="192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lnTo>
                  <a:pt x="192" y="266"/>
                </a:lnTo>
                <a:close/>
                <a:moveTo>
                  <a:pt x="142" y="15"/>
                </a:moveTo>
                <a:cubicBezTo>
                  <a:pt x="139" y="18"/>
                  <a:pt x="146" y="15"/>
                  <a:pt x="150" y="14"/>
                </a:cubicBezTo>
                <a:cubicBezTo>
                  <a:pt x="146" y="15"/>
                  <a:pt x="145" y="14"/>
                  <a:pt x="142" y="15"/>
                </a:cubicBezTo>
                <a:close/>
                <a:moveTo>
                  <a:pt x="168" y="9"/>
                </a:moveTo>
                <a:cubicBezTo>
                  <a:pt x="166" y="10"/>
                  <a:pt x="163" y="10"/>
                  <a:pt x="160" y="11"/>
                </a:cubicBezTo>
                <a:cubicBezTo>
                  <a:pt x="162" y="11"/>
                  <a:pt x="165" y="10"/>
                  <a:pt x="168" y="9"/>
                </a:cubicBezTo>
                <a:close/>
                <a:moveTo>
                  <a:pt x="147" y="12"/>
                </a:moveTo>
                <a:cubicBezTo>
                  <a:pt x="152" y="12"/>
                  <a:pt x="156" y="11"/>
                  <a:pt x="160" y="11"/>
                </a:cubicBezTo>
                <a:cubicBezTo>
                  <a:pt x="157" y="11"/>
                  <a:pt x="154" y="11"/>
                  <a:pt x="147" y="12"/>
                </a:cubicBezTo>
                <a:close/>
                <a:moveTo>
                  <a:pt x="239" y="8"/>
                </a:moveTo>
                <a:cubicBezTo>
                  <a:pt x="235" y="9"/>
                  <a:pt x="227" y="8"/>
                  <a:pt x="227" y="8"/>
                </a:cubicBezTo>
                <a:cubicBezTo>
                  <a:pt x="244" y="10"/>
                  <a:pt x="223" y="10"/>
                  <a:pt x="222" y="11"/>
                </a:cubicBezTo>
                <a:cubicBezTo>
                  <a:pt x="233" y="11"/>
                  <a:pt x="233" y="9"/>
                  <a:pt x="239" y="8"/>
                </a:cubicBezTo>
                <a:close/>
                <a:moveTo>
                  <a:pt x="262" y="10"/>
                </a:moveTo>
                <a:cubicBezTo>
                  <a:pt x="260" y="10"/>
                  <a:pt x="259" y="9"/>
                  <a:pt x="257" y="9"/>
                </a:cubicBezTo>
                <a:cubicBezTo>
                  <a:pt x="259" y="9"/>
                  <a:pt x="261" y="10"/>
                  <a:pt x="262" y="10"/>
                </a:cubicBezTo>
                <a:close/>
                <a:moveTo>
                  <a:pt x="268" y="12"/>
                </a:moveTo>
                <a:cubicBezTo>
                  <a:pt x="274" y="12"/>
                  <a:pt x="277" y="12"/>
                  <a:pt x="280" y="11"/>
                </a:cubicBezTo>
                <a:cubicBezTo>
                  <a:pt x="272" y="9"/>
                  <a:pt x="268" y="10"/>
                  <a:pt x="262" y="10"/>
                </a:cubicBezTo>
                <a:cubicBezTo>
                  <a:pt x="266" y="10"/>
                  <a:pt x="271" y="11"/>
                  <a:pt x="268" y="12"/>
                </a:cubicBezTo>
                <a:close/>
                <a:moveTo>
                  <a:pt x="422" y="101"/>
                </a:moveTo>
                <a:cubicBezTo>
                  <a:pt x="421" y="100"/>
                  <a:pt x="420" y="97"/>
                  <a:pt x="419" y="98"/>
                </a:cubicBezTo>
                <a:cubicBezTo>
                  <a:pt x="421" y="100"/>
                  <a:pt x="423" y="103"/>
                  <a:pt x="425" y="105"/>
                </a:cubicBezTo>
                <a:cubicBezTo>
                  <a:pt x="427" y="108"/>
                  <a:pt x="423" y="102"/>
                  <a:pt x="422" y="101"/>
                </a:cubicBezTo>
                <a:close/>
                <a:moveTo>
                  <a:pt x="442" y="130"/>
                </a:moveTo>
                <a:cubicBezTo>
                  <a:pt x="444" y="137"/>
                  <a:pt x="441" y="134"/>
                  <a:pt x="443" y="138"/>
                </a:cubicBezTo>
                <a:cubicBezTo>
                  <a:pt x="445" y="137"/>
                  <a:pt x="445" y="137"/>
                  <a:pt x="445" y="137"/>
                </a:cubicBezTo>
                <a:cubicBezTo>
                  <a:pt x="444" y="134"/>
                  <a:pt x="443" y="132"/>
                  <a:pt x="442" y="130"/>
                </a:cubicBezTo>
                <a:close/>
                <a:moveTo>
                  <a:pt x="452" y="122"/>
                </a:moveTo>
                <a:cubicBezTo>
                  <a:pt x="450" y="120"/>
                  <a:pt x="450" y="120"/>
                  <a:pt x="450" y="120"/>
                </a:cubicBezTo>
                <a:cubicBezTo>
                  <a:pt x="452" y="122"/>
                  <a:pt x="452" y="122"/>
                  <a:pt x="452" y="122"/>
                </a:cubicBezTo>
                <a:close/>
                <a:moveTo>
                  <a:pt x="441" y="165"/>
                </a:moveTo>
                <a:cubicBezTo>
                  <a:pt x="440" y="163"/>
                  <a:pt x="440" y="162"/>
                  <a:pt x="439" y="160"/>
                </a:cubicBezTo>
                <a:cubicBezTo>
                  <a:pt x="439" y="166"/>
                  <a:pt x="440" y="166"/>
                  <a:pt x="441" y="165"/>
                </a:cubicBezTo>
                <a:close/>
                <a:moveTo>
                  <a:pt x="426" y="189"/>
                </a:moveTo>
                <a:cubicBezTo>
                  <a:pt x="427" y="188"/>
                  <a:pt x="427" y="187"/>
                  <a:pt x="428" y="185"/>
                </a:cubicBezTo>
                <a:cubicBezTo>
                  <a:pt x="426" y="189"/>
                  <a:pt x="423" y="193"/>
                  <a:pt x="420" y="196"/>
                </a:cubicBezTo>
                <a:cubicBezTo>
                  <a:pt x="422" y="194"/>
                  <a:pt x="424" y="192"/>
                  <a:pt x="426" y="189"/>
                </a:cubicBezTo>
                <a:close/>
                <a:moveTo>
                  <a:pt x="402" y="214"/>
                </a:moveTo>
                <a:cubicBezTo>
                  <a:pt x="400" y="214"/>
                  <a:pt x="400" y="214"/>
                  <a:pt x="400" y="214"/>
                </a:cubicBezTo>
                <a:cubicBezTo>
                  <a:pt x="398" y="216"/>
                  <a:pt x="395" y="218"/>
                  <a:pt x="393" y="220"/>
                </a:cubicBezTo>
                <a:cubicBezTo>
                  <a:pt x="396" y="218"/>
                  <a:pt x="399" y="216"/>
                  <a:pt x="402" y="214"/>
                </a:cubicBezTo>
                <a:close/>
                <a:moveTo>
                  <a:pt x="26" y="228"/>
                </a:moveTo>
                <a:cubicBezTo>
                  <a:pt x="25" y="228"/>
                  <a:pt x="26" y="231"/>
                  <a:pt x="29" y="234"/>
                </a:cubicBezTo>
                <a:cubicBezTo>
                  <a:pt x="32" y="237"/>
                  <a:pt x="36" y="240"/>
                  <a:pt x="37" y="242"/>
                </a:cubicBezTo>
                <a:cubicBezTo>
                  <a:pt x="37" y="240"/>
                  <a:pt x="34" y="238"/>
                  <a:pt x="32" y="236"/>
                </a:cubicBezTo>
                <a:cubicBezTo>
                  <a:pt x="29" y="234"/>
                  <a:pt x="26" y="231"/>
                  <a:pt x="26" y="228"/>
                </a:cubicBezTo>
                <a:close/>
                <a:moveTo>
                  <a:pt x="196" y="36"/>
                </a:moveTo>
                <a:cubicBezTo>
                  <a:pt x="191" y="38"/>
                  <a:pt x="187" y="39"/>
                  <a:pt x="182" y="41"/>
                </a:cubicBezTo>
                <a:cubicBezTo>
                  <a:pt x="193" y="38"/>
                  <a:pt x="185" y="40"/>
                  <a:pt x="196" y="36"/>
                </a:cubicBezTo>
                <a:close/>
              </a:path>
            </a:pathLst>
          </a:custGeom>
          <a:solidFill>
            <a:srgbClr val="FEA30D"/>
          </a:solidFill>
          <a:ln>
            <a:solidFill>
              <a:srgbClr val="FEA30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84">
            <a:extLst>
              <a:ext uri="{FF2B5EF4-FFF2-40B4-BE49-F238E27FC236}">
                <a16:creationId xmlns:a16="http://schemas.microsoft.com/office/drawing/2014/main" id="{B19AF243-9E94-69C2-6605-93C78D224AF3}"/>
              </a:ext>
            </a:extLst>
          </p:cNvPr>
          <p:cNvSpPr>
            <a:spLocks noChangeArrowheads="1"/>
          </p:cNvSpPr>
          <p:nvPr/>
        </p:nvSpPr>
        <p:spPr bwMode="gray">
          <a:xfrm rot="12285394">
            <a:off x="1937080" y="4024501"/>
            <a:ext cx="2435508" cy="109377"/>
          </a:xfrm>
          <a:prstGeom prst="rightArrow">
            <a:avLst>
              <a:gd name="adj1" fmla="val 35713"/>
              <a:gd name="adj2" fmla="val 6312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>
              <a:defRPr/>
            </a:pPr>
            <a:endParaRPr lang="en-US" sz="1400" dirty="0"/>
          </a:p>
        </p:txBody>
      </p:sp>
      <p:sp>
        <p:nvSpPr>
          <p:cNvPr id="16" name="AutoShape 84">
            <a:extLst>
              <a:ext uri="{FF2B5EF4-FFF2-40B4-BE49-F238E27FC236}">
                <a16:creationId xmlns:a16="http://schemas.microsoft.com/office/drawing/2014/main" id="{EBA0ED09-7347-C025-191A-43C2D1FA35FE}"/>
              </a:ext>
            </a:extLst>
          </p:cNvPr>
          <p:cNvSpPr>
            <a:spLocks noChangeArrowheads="1"/>
          </p:cNvSpPr>
          <p:nvPr/>
        </p:nvSpPr>
        <p:spPr bwMode="gray">
          <a:xfrm rot="12704742">
            <a:off x="6347907" y="4098709"/>
            <a:ext cx="1563841" cy="139091"/>
          </a:xfrm>
          <a:prstGeom prst="rightArrow">
            <a:avLst>
              <a:gd name="adj1" fmla="val 35713"/>
              <a:gd name="adj2" fmla="val 6312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>
              <a:defRPr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1590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3623D62-FC6A-23CA-5729-3433D8091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EE w praktyce (na przykładzie linii K. CARDS)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A5ECFC42-5D27-D14B-A13C-24F557DC35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22106"/>
            <a:ext cx="12192000" cy="3494620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528D61E0-F96C-FFDA-1713-4995270FC750}"/>
              </a:ext>
            </a:extLst>
          </p:cNvPr>
          <p:cNvSpPr txBox="1"/>
          <p:nvPr/>
        </p:nvSpPr>
        <p:spPr>
          <a:xfrm>
            <a:off x="722926" y="4530630"/>
            <a:ext cx="107461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>
                <a:solidFill>
                  <a:schemeClr val="accent6">
                    <a:lumMod val="50000"/>
                  </a:schemeClr>
                </a:solidFill>
              </a:rPr>
              <a:t>OEE = (Całkowity realny czas efektywnej produkcji / Całkowity czas produkcji )*100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F7A1C8E7-F023-3121-4460-AA160EF2A861}"/>
              </a:ext>
            </a:extLst>
          </p:cNvPr>
          <p:cNvSpPr txBox="1"/>
          <p:nvPr/>
        </p:nvSpPr>
        <p:spPr>
          <a:xfrm>
            <a:off x="447541" y="5283687"/>
            <a:ext cx="11296918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l-PL" dirty="0"/>
              <a:t>Współczynnik OAE to stosunek </a:t>
            </a:r>
            <a:r>
              <a:rPr lang="pl-PL" u="sng" dirty="0"/>
              <a:t>całkowitego realnego czasu efektywnej produkcji </a:t>
            </a:r>
            <a:r>
              <a:rPr lang="pl-PL" dirty="0"/>
              <a:t>(przy pełnej wydajności i nad dobrym produktem) do </a:t>
            </a:r>
            <a:r>
              <a:rPr lang="pl-PL" u="sng" dirty="0"/>
              <a:t>całkowitego czasu produkcji z ujęciem nieplanowanych przerw </a:t>
            </a:r>
            <a:r>
              <a:rPr lang="pl-PL" dirty="0"/>
              <a:t>wyrażony w procentach.</a:t>
            </a:r>
          </a:p>
        </p:txBody>
      </p:sp>
      <p:sp>
        <p:nvSpPr>
          <p:cNvPr id="7" name="Freeform 514">
            <a:extLst>
              <a:ext uri="{FF2B5EF4-FFF2-40B4-BE49-F238E27FC236}">
                <a16:creationId xmlns:a16="http://schemas.microsoft.com/office/drawing/2014/main" id="{99A3F616-EC61-134D-3951-02D53B70DF1A}"/>
              </a:ext>
            </a:extLst>
          </p:cNvPr>
          <p:cNvSpPr>
            <a:spLocks noEditPoints="1"/>
          </p:cNvSpPr>
          <p:nvPr/>
        </p:nvSpPr>
        <p:spPr bwMode="auto">
          <a:xfrm>
            <a:off x="2316247" y="3071003"/>
            <a:ext cx="922193" cy="547363"/>
          </a:xfrm>
          <a:custGeom>
            <a:avLst/>
            <a:gdLst>
              <a:gd name="T0" fmla="*/ 124 w 458"/>
              <a:gd name="T1" fmla="*/ 13 h 288"/>
              <a:gd name="T2" fmla="*/ 343 w 458"/>
              <a:gd name="T3" fmla="*/ 240 h 288"/>
              <a:gd name="T4" fmla="*/ 292 w 458"/>
              <a:gd name="T5" fmla="*/ 271 h 288"/>
              <a:gd name="T6" fmla="*/ 291 w 458"/>
              <a:gd name="T7" fmla="*/ 260 h 288"/>
              <a:gd name="T8" fmla="*/ 141 w 458"/>
              <a:gd name="T9" fmla="*/ 12 h 288"/>
              <a:gd name="T10" fmla="*/ 85 w 458"/>
              <a:gd name="T11" fmla="*/ 70 h 288"/>
              <a:gd name="T12" fmla="*/ 6 w 458"/>
              <a:gd name="T13" fmla="*/ 224 h 288"/>
              <a:gd name="T14" fmla="*/ 71 w 458"/>
              <a:gd name="T15" fmla="*/ 273 h 288"/>
              <a:gd name="T16" fmla="*/ 191 w 458"/>
              <a:gd name="T17" fmla="*/ 286 h 288"/>
              <a:gd name="T18" fmla="*/ 292 w 458"/>
              <a:gd name="T19" fmla="*/ 271 h 288"/>
              <a:gd name="T20" fmla="*/ 415 w 458"/>
              <a:gd name="T21" fmla="*/ 222 h 288"/>
              <a:gd name="T22" fmla="*/ 450 w 458"/>
              <a:gd name="T23" fmla="*/ 120 h 288"/>
              <a:gd name="T24" fmla="*/ 307 w 458"/>
              <a:gd name="T25" fmla="*/ 12 h 288"/>
              <a:gd name="T26" fmla="*/ 145 w 458"/>
              <a:gd name="T27" fmla="*/ 7 h 288"/>
              <a:gd name="T28" fmla="*/ 141 w 458"/>
              <a:gd name="T29" fmla="*/ 11 h 288"/>
              <a:gd name="T30" fmla="*/ 134 w 458"/>
              <a:gd name="T31" fmla="*/ 13 h 288"/>
              <a:gd name="T32" fmla="*/ 223 w 458"/>
              <a:gd name="T33" fmla="*/ 2 h 288"/>
              <a:gd name="T34" fmla="*/ 349 w 458"/>
              <a:gd name="T35" fmla="*/ 36 h 288"/>
              <a:gd name="T36" fmla="*/ 424 w 458"/>
              <a:gd name="T37" fmla="*/ 98 h 288"/>
              <a:gd name="T38" fmla="*/ 430 w 458"/>
              <a:gd name="T39" fmla="*/ 104 h 288"/>
              <a:gd name="T40" fmla="*/ 436 w 458"/>
              <a:gd name="T41" fmla="*/ 174 h 288"/>
              <a:gd name="T42" fmla="*/ 394 w 458"/>
              <a:gd name="T43" fmla="*/ 220 h 288"/>
              <a:gd name="T44" fmla="*/ 306 w 458"/>
              <a:gd name="T45" fmla="*/ 254 h 288"/>
              <a:gd name="T46" fmla="*/ 257 w 458"/>
              <a:gd name="T47" fmla="*/ 260 h 288"/>
              <a:gd name="T48" fmla="*/ 192 w 458"/>
              <a:gd name="T49" fmla="*/ 266 h 288"/>
              <a:gd name="T50" fmla="*/ 94 w 458"/>
              <a:gd name="T51" fmla="*/ 259 h 288"/>
              <a:gd name="T52" fmla="*/ 17 w 458"/>
              <a:gd name="T53" fmla="*/ 215 h 288"/>
              <a:gd name="T54" fmla="*/ 46 w 458"/>
              <a:gd name="T55" fmla="*/ 132 h 288"/>
              <a:gd name="T56" fmla="*/ 111 w 458"/>
              <a:gd name="T57" fmla="*/ 77 h 288"/>
              <a:gd name="T58" fmla="*/ 203 w 458"/>
              <a:gd name="T59" fmla="*/ 34 h 288"/>
              <a:gd name="T60" fmla="*/ 294 w 458"/>
              <a:gd name="T61" fmla="*/ 22 h 288"/>
              <a:gd name="T62" fmla="*/ 382 w 458"/>
              <a:gd name="T63" fmla="*/ 18 h 288"/>
              <a:gd name="T64" fmla="*/ 345 w 458"/>
              <a:gd name="T65" fmla="*/ 5 h 288"/>
              <a:gd name="T66" fmla="*/ 219 w 458"/>
              <a:gd name="T67" fmla="*/ 14 h 288"/>
              <a:gd name="T68" fmla="*/ 134 w 458"/>
              <a:gd name="T69" fmla="*/ 42 h 288"/>
              <a:gd name="T70" fmla="*/ 345 w 458"/>
              <a:gd name="T71" fmla="*/ 25 h 288"/>
              <a:gd name="T72" fmla="*/ 61 w 458"/>
              <a:gd name="T73" fmla="*/ 253 h 288"/>
              <a:gd name="T74" fmla="*/ 107 w 458"/>
              <a:gd name="T75" fmla="*/ 277 h 288"/>
              <a:gd name="T76" fmla="*/ 338 w 458"/>
              <a:gd name="T77" fmla="*/ 257 h 288"/>
              <a:gd name="T78" fmla="*/ 415 w 458"/>
              <a:gd name="T79" fmla="*/ 215 h 288"/>
              <a:gd name="T80" fmla="*/ 373 w 458"/>
              <a:gd name="T81" fmla="*/ 243 h 288"/>
              <a:gd name="T82" fmla="*/ 398 w 458"/>
              <a:gd name="T83" fmla="*/ 232 h 288"/>
              <a:gd name="T84" fmla="*/ 249 w 458"/>
              <a:gd name="T85" fmla="*/ 6 h 288"/>
              <a:gd name="T86" fmla="*/ 402 w 458"/>
              <a:gd name="T87" fmla="*/ 65 h 288"/>
              <a:gd name="T88" fmla="*/ 437 w 458"/>
              <a:gd name="T89" fmla="*/ 188 h 288"/>
              <a:gd name="T90" fmla="*/ 424 w 458"/>
              <a:gd name="T91" fmla="*/ 202 h 288"/>
              <a:gd name="T92" fmla="*/ 259 w 458"/>
              <a:gd name="T93" fmla="*/ 266 h 288"/>
              <a:gd name="T94" fmla="*/ 162 w 458"/>
              <a:gd name="T95" fmla="*/ 45 h 288"/>
              <a:gd name="T96" fmla="*/ 224 w 458"/>
              <a:gd name="T97" fmla="*/ 29 h 288"/>
              <a:gd name="T98" fmla="*/ 284 w 458"/>
              <a:gd name="T99" fmla="*/ 20 h 288"/>
              <a:gd name="T100" fmla="*/ 253 w 458"/>
              <a:gd name="T101" fmla="*/ 20 h 288"/>
              <a:gd name="T102" fmla="*/ 82 w 458"/>
              <a:gd name="T103" fmla="*/ 93 h 288"/>
              <a:gd name="T104" fmla="*/ 153 w 458"/>
              <a:gd name="T105" fmla="*/ 274 h 288"/>
              <a:gd name="T106" fmla="*/ 46 w 458"/>
              <a:gd name="T107" fmla="*/ 119 h 288"/>
              <a:gd name="T108" fmla="*/ 19 w 458"/>
              <a:gd name="T109" fmla="*/ 155 h 288"/>
              <a:gd name="T110" fmla="*/ 56 w 458"/>
              <a:gd name="T111" fmla="*/ 97 h 288"/>
              <a:gd name="T112" fmla="*/ 192 w 458"/>
              <a:gd name="T113" fmla="*/ 266 h 288"/>
              <a:gd name="T114" fmla="*/ 147 w 458"/>
              <a:gd name="T115" fmla="*/ 12 h 288"/>
              <a:gd name="T116" fmla="*/ 268 w 458"/>
              <a:gd name="T117" fmla="*/ 12 h 288"/>
              <a:gd name="T118" fmla="*/ 445 w 458"/>
              <a:gd name="T119" fmla="*/ 137 h 288"/>
              <a:gd name="T120" fmla="*/ 420 w 458"/>
              <a:gd name="T121" fmla="*/ 196 h 288"/>
              <a:gd name="T122" fmla="*/ 26 w 458"/>
              <a:gd name="T123" fmla="*/ 22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8" h="288">
                <a:moveTo>
                  <a:pt x="125" y="15"/>
                </a:moveTo>
                <a:cubicBezTo>
                  <a:pt x="125" y="15"/>
                  <a:pt x="125" y="15"/>
                  <a:pt x="125" y="15"/>
                </a:cubicBezTo>
                <a:cubicBezTo>
                  <a:pt x="125" y="15"/>
                  <a:pt x="125" y="15"/>
                  <a:pt x="125" y="15"/>
                </a:cubicBezTo>
                <a:close/>
                <a:moveTo>
                  <a:pt x="122" y="17"/>
                </a:moveTo>
                <a:cubicBezTo>
                  <a:pt x="123" y="17"/>
                  <a:pt x="124" y="16"/>
                  <a:pt x="125" y="15"/>
                </a:cubicBezTo>
                <a:cubicBezTo>
                  <a:pt x="124" y="15"/>
                  <a:pt x="122" y="14"/>
                  <a:pt x="122" y="17"/>
                </a:cubicBezTo>
                <a:close/>
                <a:moveTo>
                  <a:pt x="124" y="11"/>
                </a:moveTo>
                <a:cubicBezTo>
                  <a:pt x="123" y="12"/>
                  <a:pt x="123" y="12"/>
                  <a:pt x="123" y="12"/>
                </a:cubicBezTo>
                <a:cubicBezTo>
                  <a:pt x="124" y="12"/>
                  <a:pt x="124" y="11"/>
                  <a:pt x="124" y="11"/>
                </a:cubicBezTo>
                <a:close/>
                <a:moveTo>
                  <a:pt x="124" y="13"/>
                </a:moveTo>
                <a:cubicBezTo>
                  <a:pt x="125" y="14"/>
                  <a:pt x="125" y="14"/>
                  <a:pt x="125" y="14"/>
                </a:cubicBezTo>
                <a:cubicBezTo>
                  <a:pt x="125" y="13"/>
                  <a:pt x="125" y="13"/>
                  <a:pt x="125" y="13"/>
                </a:cubicBezTo>
                <a:lnTo>
                  <a:pt x="124" y="13"/>
                </a:lnTo>
                <a:close/>
                <a:moveTo>
                  <a:pt x="321" y="247"/>
                </a:moveTo>
                <a:cubicBezTo>
                  <a:pt x="322" y="246"/>
                  <a:pt x="322" y="246"/>
                  <a:pt x="321" y="245"/>
                </a:cubicBezTo>
                <a:lnTo>
                  <a:pt x="321" y="247"/>
                </a:lnTo>
                <a:close/>
                <a:moveTo>
                  <a:pt x="296" y="258"/>
                </a:moveTo>
                <a:cubicBezTo>
                  <a:pt x="294" y="259"/>
                  <a:pt x="293" y="259"/>
                  <a:pt x="291" y="260"/>
                </a:cubicBezTo>
                <a:cubicBezTo>
                  <a:pt x="293" y="259"/>
                  <a:pt x="294" y="259"/>
                  <a:pt x="296" y="258"/>
                </a:cubicBezTo>
                <a:close/>
                <a:moveTo>
                  <a:pt x="343" y="240"/>
                </a:moveTo>
                <a:cubicBezTo>
                  <a:pt x="339" y="241"/>
                  <a:pt x="339" y="241"/>
                  <a:pt x="339" y="241"/>
                </a:cubicBezTo>
                <a:cubicBezTo>
                  <a:pt x="340" y="241"/>
                  <a:pt x="342" y="240"/>
                  <a:pt x="343" y="240"/>
                </a:cubicBezTo>
                <a:close/>
                <a:moveTo>
                  <a:pt x="362" y="45"/>
                </a:moveTo>
                <a:cubicBezTo>
                  <a:pt x="358" y="43"/>
                  <a:pt x="354" y="42"/>
                  <a:pt x="351" y="41"/>
                </a:cubicBezTo>
                <a:cubicBezTo>
                  <a:pt x="358" y="45"/>
                  <a:pt x="360" y="44"/>
                  <a:pt x="362" y="45"/>
                </a:cubicBezTo>
                <a:close/>
                <a:moveTo>
                  <a:pt x="176" y="284"/>
                </a:moveTo>
                <a:cubicBezTo>
                  <a:pt x="175" y="284"/>
                  <a:pt x="175" y="284"/>
                  <a:pt x="175" y="284"/>
                </a:cubicBezTo>
                <a:cubicBezTo>
                  <a:pt x="173" y="284"/>
                  <a:pt x="173" y="284"/>
                  <a:pt x="176" y="284"/>
                </a:cubicBezTo>
                <a:close/>
                <a:moveTo>
                  <a:pt x="293" y="272"/>
                </a:moveTo>
                <a:cubicBezTo>
                  <a:pt x="293" y="272"/>
                  <a:pt x="293" y="271"/>
                  <a:pt x="292" y="271"/>
                </a:cubicBezTo>
                <a:cubicBezTo>
                  <a:pt x="291" y="272"/>
                  <a:pt x="291" y="272"/>
                  <a:pt x="291" y="272"/>
                </a:cubicBezTo>
                <a:lnTo>
                  <a:pt x="293" y="272"/>
                </a:lnTo>
                <a:close/>
                <a:moveTo>
                  <a:pt x="361" y="235"/>
                </a:moveTo>
                <a:cubicBezTo>
                  <a:pt x="361" y="235"/>
                  <a:pt x="361" y="234"/>
                  <a:pt x="361" y="234"/>
                </a:cubicBezTo>
                <a:cubicBezTo>
                  <a:pt x="365" y="233"/>
                  <a:pt x="365" y="233"/>
                  <a:pt x="365" y="233"/>
                </a:cubicBezTo>
                <a:cubicBezTo>
                  <a:pt x="363" y="233"/>
                  <a:pt x="362" y="234"/>
                  <a:pt x="361" y="235"/>
                </a:cubicBezTo>
                <a:close/>
                <a:moveTo>
                  <a:pt x="138" y="283"/>
                </a:moveTo>
                <a:cubicBezTo>
                  <a:pt x="136" y="284"/>
                  <a:pt x="135" y="284"/>
                  <a:pt x="133" y="285"/>
                </a:cubicBezTo>
                <a:cubicBezTo>
                  <a:pt x="137" y="285"/>
                  <a:pt x="139" y="284"/>
                  <a:pt x="138" y="283"/>
                </a:cubicBezTo>
                <a:close/>
                <a:moveTo>
                  <a:pt x="291" y="260"/>
                </a:moveTo>
                <a:cubicBezTo>
                  <a:pt x="291" y="260"/>
                  <a:pt x="291" y="260"/>
                  <a:pt x="291" y="260"/>
                </a:cubicBezTo>
                <a:cubicBezTo>
                  <a:pt x="291" y="260"/>
                  <a:pt x="291" y="260"/>
                  <a:pt x="291" y="260"/>
                </a:cubicBezTo>
                <a:close/>
                <a:moveTo>
                  <a:pt x="331" y="261"/>
                </a:moveTo>
                <a:cubicBezTo>
                  <a:pt x="325" y="263"/>
                  <a:pt x="325" y="263"/>
                  <a:pt x="325" y="263"/>
                </a:cubicBezTo>
                <a:cubicBezTo>
                  <a:pt x="327" y="262"/>
                  <a:pt x="330" y="262"/>
                  <a:pt x="331" y="261"/>
                </a:cubicBezTo>
                <a:close/>
                <a:moveTo>
                  <a:pt x="362" y="45"/>
                </a:moveTo>
                <a:cubicBezTo>
                  <a:pt x="366" y="46"/>
                  <a:pt x="366" y="46"/>
                  <a:pt x="366" y="46"/>
                </a:cubicBezTo>
                <a:cubicBezTo>
                  <a:pt x="364" y="45"/>
                  <a:pt x="363" y="45"/>
                  <a:pt x="362" y="45"/>
                </a:cubicBezTo>
                <a:close/>
                <a:moveTo>
                  <a:pt x="136" y="14"/>
                </a:moveTo>
                <a:cubicBezTo>
                  <a:pt x="140" y="14"/>
                  <a:pt x="141" y="13"/>
                  <a:pt x="141" y="12"/>
                </a:cubicBezTo>
                <a:cubicBezTo>
                  <a:pt x="139" y="13"/>
                  <a:pt x="138" y="14"/>
                  <a:pt x="136" y="14"/>
                </a:cubicBezTo>
                <a:close/>
                <a:moveTo>
                  <a:pt x="373" y="14"/>
                </a:moveTo>
                <a:cubicBezTo>
                  <a:pt x="375" y="14"/>
                  <a:pt x="375" y="14"/>
                  <a:pt x="375" y="14"/>
                </a:cubicBezTo>
                <a:cubicBezTo>
                  <a:pt x="374" y="14"/>
                  <a:pt x="374" y="14"/>
                  <a:pt x="373" y="14"/>
                </a:cubicBezTo>
                <a:close/>
                <a:moveTo>
                  <a:pt x="234" y="28"/>
                </a:moveTo>
                <a:cubicBezTo>
                  <a:pt x="233" y="29"/>
                  <a:pt x="232" y="29"/>
                  <a:pt x="232" y="29"/>
                </a:cubicBezTo>
                <a:cubicBezTo>
                  <a:pt x="233" y="29"/>
                  <a:pt x="234" y="29"/>
                  <a:pt x="234" y="28"/>
                </a:cubicBezTo>
                <a:close/>
                <a:moveTo>
                  <a:pt x="109" y="53"/>
                </a:moveTo>
                <a:cubicBezTo>
                  <a:pt x="103" y="58"/>
                  <a:pt x="96" y="64"/>
                  <a:pt x="90" y="69"/>
                </a:cubicBezTo>
                <a:cubicBezTo>
                  <a:pt x="88" y="69"/>
                  <a:pt x="79" y="75"/>
                  <a:pt x="85" y="70"/>
                </a:cubicBezTo>
                <a:cubicBezTo>
                  <a:pt x="83" y="72"/>
                  <a:pt x="80" y="75"/>
                  <a:pt x="78" y="77"/>
                </a:cubicBezTo>
                <a:cubicBezTo>
                  <a:pt x="78" y="76"/>
                  <a:pt x="78" y="76"/>
                  <a:pt x="78" y="76"/>
                </a:cubicBezTo>
                <a:cubicBezTo>
                  <a:pt x="62" y="87"/>
                  <a:pt x="49" y="101"/>
                  <a:pt x="38" y="116"/>
                </a:cubicBezTo>
                <a:cubicBezTo>
                  <a:pt x="27" y="131"/>
                  <a:pt x="17" y="147"/>
                  <a:pt x="7" y="166"/>
                </a:cubicBezTo>
                <a:cubicBezTo>
                  <a:pt x="7" y="165"/>
                  <a:pt x="7" y="165"/>
                  <a:pt x="7" y="165"/>
                </a:cubicBezTo>
                <a:cubicBezTo>
                  <a:pt x="5" y="173"/>
                  <a:pt x="3" y="182"/>
                  <a:pt x="3" y="190"/>
                </a:cubicBezTo>
                <a:cubicBezTo>
                  <a:pt x="3" y="195"/>
                  <a:pt x="0" y="196"/>
                  <a:pt x="0" y="204"/>
                </a:cubicBezTo>
                <a:cubicBezTo>
                  <a:pt x="1" y="202"/>
                  <a:pt x="1" y="206"/>
                  <a:pt x="2" y="211"/>
                </a:cubicBezTo>
                <a:cubicBezTo>
                  <a:pt x="2" y="213"/>
                  <a:pt x="3" y="216"/>
                  <a:pt x="3" y="218"/>
                </a:cubicBezTo>
                <a:cubicBezTo>
                  <a:pt x="4" y="220"/>
                  <a:pt x="5" y="223"/>
                  <a:pt x="6" y="224"/>
                </a:cubicBezTo>
                <a:cubicBezTo>
                  <a:pt x="7" y="230"/>
                  <a:pt x="4" y="224"/>
                  <a:pt x="3" y="222"/>
                </a:cubicBezTo>
                <a:cubicBezTo>
                  <a:pt x="5" y="229"/>
                  <a:pt x="8" y="235"/>
                  <a:pt x="12" y="240"/>
                </a:cubicBezTo>
                <a:cubicBezTo>
                  <a:pt x="16" y="246"/>
                  <a:pt x="20" y="250"/>
                  <a:pt x="25" y="253"/>
                </a:cubicBezTo>
                <a:cubicBezTo>
                  <a:pt x="34" y="260"/>
                  <a:pt x="45" y="265"/>
                  <a:pt x="57" y="270"/>
                </a:cubicBezTo>
                <a:cubicBezTo>
                  <a:pt x="45" y="264"/>
                  <a:pt x="40" y="260"/>
                  <a:pt x="35" y="257"/>
                </a:cubicBezTo>
                <a:cubicBezTo>
                  <a:pt x="31" y="254"/>
                  <a:pt x="27" y="252"/>
                  <a:pt x="20" y="244"/>
                </a:cubicBezTo>
                <a:cubicBezTo>
                  <a:pt x="29" y="252"/>
                  <a:pt x="34" y="255"/>
                  <a:pt x="39" y="258"/>
                </a:cubicBezTo>
                <a:cubicBezTo>
                  <a:pt x="45" y="262"/>
                  <a:pt x="50" y="265"/>
                  <a:pt x="60" y="268"/>
                </a:cubicBezTo>
                <a:cubicBezTo>
                  <a:pt x="57" y="267"/>
                  <a:pt x="54" y="267"/>
                  <a:pt x="51" y="265"/>
                </a:cubicBezTo>
                <a:cubicBezTo>
                  <a:pt x="55" y="269"/>
                  <a:pt x="63" y="272"/>
                  <a:pt x="71" y="273"/>
                </a:cubicBezTo>
                <a:cubicBezTo>
                  <a:pt x="78" y="275"/>
                  <a:pt x="84" y="276"/>
                  <a:pt x="85" y="278"/>
                </a:cubicBezTo>
                <a:cubicBezTo>
                  <a:pt x="98" y="280"/>
                  <a:pt x="109" y="278"/>
                  <a:pt x="124" y="280"/>
                </a:cubicBezTo>
                <a:cubicBezTo>
                  <a:pt x="117" y="283"/>
                  <a:pt x="117" y="283"/>
                  <a:pt x="117" y="283"/>
                </a:cubicBezTo>
                <a:cubicBezTo>
                  <a:pt x="121" y="283"/>
                  <a:pt x="126" y="284"/>
                  <a:pt x="130" y="284"/>
                </a:cubicBezTo>
                <a:cubicBezTo>
                  <a:pt x="131" y="282"/>
                  <a:pt x="131" y="282"/>
                  <a:pt x="131" y="282"/>
                </a:cubicBezTo>
                <a:cubicBezTo>
                  <a:pt x="135" y="282"/>
                  <a:pt x="137" y="283"/>
                  <a:pt x="138" y="283"/>
                </a:cubicBezTo>
                <a:cubicBezTo>
                  <a:pt x="147" y="282"/>
                  <a:pt x="160" y="284"/>
                  <a:pt x="173" y="283"/>
                </a:cubicBezTo>
                <a:cubicBezTo>
                  <a:pt x="175" y="284"/>
                  <a:pt x="175" y="284"/>
                  <a:pt x="175" y="284"/>
                </a:cubicBezTo>
                <a:cubicBezTo>
                  <a:pt x="176" y="283"/>
                  <a:pt x="177" y="283"/>
                  <a:pt x="177" y="283"/>
                </a:cubicBezTo>
                <a:cubicBezTo>
                  <a:pt x="180" y="285"/>
                  <a:pt x="190" y="284"/>
                  <a:pt x="191" y="286"/>
                </a:cubicBezTo>
                <a:cubicBezTo>
                  <a:pt x="187" y="286"/>
                  <a:pt x="177" y="287"/>
                  <a:pt x="178" y="286"/>
                </a:cubicBezTo>
                <a:cubicBezTo>
                  <a:pt x="167" y="288"/>
                  <a:pt x="191" y="287"/>
                  <a:pt x="198" y="287"/>
                </a:cubicBezTo>
                <a:cubicBezTo>
                  <a:pt x="190" y="286"/>
                  <a:pt x="200" y="286"/>
                  <a:pt x="204" y="285"/>
                </a:cubicBezTo>
                <a:cubicBezTo>
                  <a:pt x="205" y="286"/>
                  <a:pt x="203" y="286"/>
                  <a:pt x="203" y="286"/>
                </a:cubicBezTo>
                <a:cubicBezTo>
                  <a:pt x="216" y="287"/>
                  <a:pt x="220" y="281"/>
                  <a:pt x="229" y="284"/>
                </a:cubicBezTo>
                <a:cubicBezTo>
                  <a:pt x="231" y="282"/>
                  <a:pt x="231" y="282"/>
                  <a:pt x="231" y="282"/>
                </a:cubicBezTo>
                <a:cubicBezTo>
                  <a:pt x="234" y="283"/>
                  <a:pt x="238" y="283"/>
                  <a:pt x="241" y="283"/>
                </a:cubicBezTo>
                <a:cubicBezTo>
                  <a:pt x="242" y="279"/>
                  <a:pt x="255" y="281"/>
                  <a:pt x="257" y="277"/>
                </a:cubicBezTo>
                <a:cubicBezTo>
                  <a:pt x="268" y="275"/>
                  <a:pt x="255" y="279"/>
                  <a:pt x="259" y="278"/>
                </a:cubicBezTo>
                <a:cubicBezTo>
                  <a:pt x="270" y="278"/>
                  <a:pt x="288" y="270"/>
                  <a:pt x="292" y="271"/>
                </a:cubicBezTo>
                <a:cubicBezTo>
                  <a:pt x="301" y="268"/>
                  <a:pt x="311" y="266"/>
                  <a:pt x="319" y="263"/>
                </a:cubicBezTo>
                <a:cubicBezTo>
                  <a:pt x="320" y="265"/>
                  <a:pt x="320" y="265"/>
                  <a:pt x="320" y="265"/>
                </a:cubicBezTo>
                <a:cubicBezTo>
                  <a:pt x="324" y="263"/>
                  <a:pt x="328" y="261"/>
                  <a:pt x="332" y="260"/>
                </a:cubicBezTo>
                <a:cubicBezTo>
                  <a:pt x="332" y="260"/>
                  <a:pt x="331" y="260"/>
                  <a:pt x="331" y="261"/>
                </a:cubicBezTo>
                <a:cubicBezTo>
                  <a:pt x="351" y="253"/>
                  <a:pt x="351" y="253"/>
                  <a:pt x="351" y="253"/>
                </a:cubicBezTo>
                <a:cubicBezTo>
                  <a:pt x="357" y="250"/>
                  <a:pt x="363" y="248"/>
                  <a:pt x="369" y="246"/>
                </a:cubicBezTo>
                <a:cubicBezTo>
                  <a:pt x="368" y="247"/>
                  <a:pt x="369" y="248"/>
                  <a:pt x="362" y="251"/>
                </a:cubicBezTo>
                <a:cubicBezTo>
                  <a:pt x="373" y="248"/>
                  <a:pt x="392" y="238"/>
                  <a:pt x="408" y="228"/>
                </a:cubicBezTo>
                <a:cubicBezTo>
                  <a:pt x="407" y="229"/>
                  <a:pt x="407" y="229"/>
                  <a:pt x="407" y="229"/>
                </a:cubicBezTo>
                <a:cubicBezTo>
                  <a:pt x="410" y="227"/>
                  <a:pt x="413" y="225"/>
                  <a:pt x="415" y="222"/>
                </a:cubicBezTo>
                <a:cubicBezTo>
                  <a:pt x="414" y="224"/>
                  <a:pt x="415" y="223"/>
                  <a:pt x="416" y="224"/>
                </a:cubicBezTo>
                <a:cubicBezTo>
                  <a:pt x="423" y="219"/>
                  <a:pt x="431" y="211"/>
                  <a:pt x="437" y="204"/>
                </a:cubicBezTo>
                <a:cubicBezTo>
                  <a:pt x="443" y="196"/>
                  <a:pt x="446" y="189"/>
                  <a:pt x="447" y="183"/>
                </a:cubicBezTo>
                <a:cubicBezTo>
                  <a:pt x="445" y="188"/>
                  <a:pt x="453" y="176"/>
                  <a:pt x="449" y="187"/>
                </a:cubicBezTo>
                <a:cubicBezTo>
                  <a:pt x="453" y="178"/>
                  <a:pt x="456" y="167"/>
                  <a:pt x="457" y="155"/>
                </a:cubicBezTo>
                <a:cubicBezTo>
                  <a:pt x="458" y="144"/>
                  <a:pt x="456" y="132"/>
                  <a:pt x="452" y="122"/>
                </a:cubicBezTo>
                <a:cubicBezTo>
                  <a:pt x="452" y="123"/>
                  <a:pt x="452" y="123"/>
                  <a:pt x="452" y="123"/>
                </a:cubicBezTo>
                <a:cubicBezTo>
                  <a:pt x="450" y="120"/>
                  <a:pt x="449" y="117"/>
                  <a:pt x="447" y="115"/>
                </a:cubicBezTo>
                <a:cubicBezTo>
                  <a:pt x="447" y="114"/>
                  <a:pt x="447" y="114"/>
                  <a:pt x="447" y="114"/>
                </a:cubicBezTo>
                <a:cubicBezTo>
                  <a:pt x="448" y="116"/>
                  <a:pt x="449" y="118"/>
                  <a:pt x="450" y="120"/>
                </a:cubicBezTo>
                <a:cubicBezTo>
                  <a:pt x="447" y="112"/>
                  <a:pt x="443" y="105"/>
                  <a:pt x="438" y="100"/>
                </a:cubicBezTo>
                <a:cubicBezTo>
                  <a:pt x="438" y="99"/>
                  <a:pt x="438" y="96"/>
                  <a:pt x="436" y="92"/>
                </a:cubicBezTo>
                <a:cubicBezTo>
                  <a:pt x="435" y="93"/>
                  <a:pt x="432" y="88"/>
                  <a:pt x="427" y="82"/>
                </a:cubicBezTo>
                <a:cubicBezTo>
                  <a:pt x="423" y="76"/>
                  <a:pt x="417" y="70"/>
                  <a:pt x="413" y="67"/>
                </a:cubicBezTo>
                <a:cubicBezTo>
                  <a:pt x="412" y="66"/>
                  <a:pt x="416" y="70"/>
                  <a:pt x="414" y="67"/>
                </a:cubicBezTo>
                <a:cubicBezTo>
                  <a:pt x="405" y="59"/>
                  <a:pt x="392" y="49"/>
                  <a:pt x="378" y="41"/>
                </a:cubicBezTo>
                <a:cubicBezTo>
                  <a:pt x="364" y="33"/>
                  <a:pt x="349" y="26"/>
                  <a:pt x="336" y="20"/>
                </a:cubicBezTo>
                <a:cubicBezTo>
                  <a:pt x="334" y="21"/>
                  <a:pt x="327" y="19"/>
                  <a:pt x="319" y="17"/>
                </a:cubicBezTo>
                <a:cubicBezTo>
                  <a:pt x="311" y="15"/>
                  <a:pt x="301" y="13"/>
                  <a:pt x="293" y="12"/>
                </a:cubicBezTo>
                <a:cubicBezTo>
                  <a:pt x="290" y="9"/>
                  <a:pt x="302" y="13"/>
                  <a:pt x="307" y="12"/>
                </a:cubicBezTo>
                <a:cubicBezTo>
                  <a:pt x="298" y="11"/>
                  <a:pt x="306" y="9"/>
                  <a:pt x="290" y="7"/>
                </a:cubicBezTo>
                <a:cubicBezTo>
                  <a:pt x="291" y="7"/>
                  <a:pt x="290" y="6"/>
                  <a:pt x="293" y="7"/>
                </a:cubicBezTo>
                <a:cubicBezTo>
                  <a:pt x="285" y="5"/>
                  <a:pt x="295" y="10"/>
                  <a:pt x="281" y="7"/>
                </a:cubicBezTo>
                <a:cubicBezTo>
                  <a:pt x="281" y="5"/>
                  <a:pt x="281" y="5"/>
                  <a:pt x="281" y="5"/>
                </a:cubicBezTo>
                <a:cubicBezTo>
                  <a:pt x="273" y="6"/>
                  <a:pt x="273" y="6"/>
                  <a:pt x="273" y="6"/>
                </a:cubicBezTo>
                <a:cubicBezTo>
                  <a:pt x="245" y="1"/>
                  <a:pt x="221" y="1"/>
                  <a:pt x="197" y="0"/>
                </a:cubicBezTo>
                <a:cubicBezTo>
                  <a:pt x="195" y="0"/>
                  <a:pt x="196" y="1"/>
                  <a:pt x="199" y="2"/>
                </a:cubicBezTo>
                <a:cubicBezTo>
                  <a:pt x="188" y="2"/>
                  <a:pt x="175" y="5"/>
                  <a:pt x="163" y="5"/>
                </a:cubicBezTo>
                <a:cubicBezTo>
                  <a:pt x="166" y="4"/>
                  <a:pt x="166" y="4"/>
                  <a:pt x="166" y="4"/>
                </a:cubicBezTo>
                <a:cubicBezTo>
                  <a:pt x="156" y="5"/>
                  <a:pt x="151" y="6"/>
                  <a:pt x="145" y="7"/>
                </a:cubicBezTo>
                <a:cubicBezTo>
                  <a:pt x="136" y="10"/>
                  <a:pt x="136" y="10"/>
                  <a:pt x="136" y="10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6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8" y="13"/>
                  <a:pt x="128" y="13"/>
                  <a:pt x="128" y="13"/>
                </a:cubicBezTo>
                <a:cubicBezTo>
                  <a:pt x="130" y="12"/>
                  <a:pt x="132" y="12"/>
                  <a:pt x="133" y="11"/>
                </a:cubicBezTo>
                <a:cubicBezTo>
                  <a:pt x="137" y="10"/>
                  <a:pt x="141" y="10"/>
                  <a:pt x="141" y="11"/>
                </a:cubicBezTo>
                <a:cubicBezTo>
                  <a:pt x="140" y="12"/>
                  <a:pt x="137" y="13"/>
                  <a:pt x="133" y="13"/>
                </a:cubicBezTo>
                <a:cubicBezTo>
                  <a:pt x="131" y="14"/>
                  <a:pt x="130" y="14"/>
                  <a:pt x="128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27" y="16"/>
                  <a:pt x="127" y="16"/>
                  <a:pt x="127" y="15"/>
                </a:cubicBezTo>
                <a:cubicBezTo>
                  <a:pt x="128" y="15"/>
                  <a:pt x="128" y="15"/>
                  <a:pt x="129" y="15"/>
                </a:cubicBezTo>
                <a:cubicBezTo>
                  <a:pt x="130" y="14"/>
                  <a:pt x="132" y="14"/>
                  <a:pt x="134" y="13"/>
                </a:cubicBezTo>
                <a:cubicBezTo>
                  <a:pt x="144" y="11"/>
                  <a:pt x="144" y="11"/>
                  <a:pt x="144" y="11"/>
                </a:cubicBezTo>
                <a:cubicBezTo>
                  <a:pt x="142" y="11"/>
                  <a:pt x="142" y="12"/>
                  <a:pt x="141" y="12"/>
                </a:cubicBezTo>
                <a:cubicBezTo>
                  <a:pt x="147" y="11"/>
                  <a:pt x="155" y="10"/>
                  <a:pt x="163" y="8"/>
                </a:cubicBezTo>
                <a:cubicBezTo>
                  <a:pt x="159" y="8"/>
                  <a:pt x="155" y="9"/>
                  <a:pt x="151" y="9"/>
                </a:cubicBezTo>
                <a:cubicBezTo>
                  <a:pt x="156" y="7"/>
                  <a:pt x="171" y="7"/>
                  <a:pt x="176" y="6"/>
                </a:cubicBezTo>
                <a:cubicBezTo>
                  <a:pt x="176" y="8"/>
                  <a:pt x="169" y="8"/>
                  <a:pt x="176" y="9"/>
                </a:cubicBezTo>
                <a:cubicBezTo>
                  <a:pt x="186" y="9"/>
                  <a:pt x="189" y="8"/>
                  <a:pt x="192" y="7"/>
                </a:cubicBezTo>
                <a:cubicBezTo>
                  <a:pt x="194" y="6"/>
                  <a:pt x="197" y="5"/>
                  <a:pt x="207" y="4"/>
                </a:cubicBezTo>
                <a:cubicBezTo>
                  <a:pt x="203" y="3"/>
                  <a:pt x="203" y="3"/>
                  <a:pt x="203" y="3"/>
                </a:cubicBezTo>
                <a:cubicBezTo>
                  <a:pt x="209" y="3"/>
                  <a:pt x="214" y="1"/>
                  <a:pt x="223" y="2"/>
                </a:cubicBezTo>
                <a:cubicBezTo>
                  <a:pt x="223" y="4"/>
                  <a:pt x="216" y="4"/>
                  <a:pt x="213" y="4"/>
                </a:cubicBezTo>
                <a:cubicBezTo>
                  <a:pt x="214" y="5"/>
                  <a:pt x="224" y="2"/>
                  <a:pt x="230" y="4"/>
                </a:cubicBezTo>
                <a:cubicBezTo>
                  <a:pt x="225" y="5"/>
                  <a:pt x="210" y="6"/>
                  <a:pt x="200" y="6"/>
                </a:cubicBezTo>
                <a:cubicBezTo>
                  <a:pt x="201" y="7"/>
                  <a:pt x="201" y="7"/>
                  <a:pt x="200" y="8"/>
                </a:cubicBezTo>
                <a:cubicBezTo>
                  <a:pt x="229" y="6"/>
                  <a:pt x="262" y="6"/>
                  <a:pt x="291" y="13"/>
                </a:cubicBezTo>
                <a:cubicBezTo>
                  <a:pt x="275" y="13"/>
                  <a:pt x="297" y="15"/>
                  <a:pt x="293" y="17"/>
                </a:cubicBezTo>
                <a:cubicBezTo>
                  <a:pt x="296" y="15"/>
                  <a:pt x="304" y="19"/>
                  <a:pt x="312" y="21"/>
                </a:cubicBezTo>
                <a:cubicBezTo>
                  <a:pt x="315" y="24"/>
                  <a:pt x="296" y="18"/>
                  <a:pt x="302" y="21"/>
                </a:cubicBezTo>
                <a:cubicBezTo>
                  <a:pt x="317" y="24"/>
                  <a:pt x="338" y="28"/>
                  <a:pt x="356" y="38"/>
                </a:cubicBezTo>
                <a:cubicBezTo>
                  <a:pt x="355" y="38"/>
                  <a:pt x="350" y="36"/>
                  <a:pt x="349" y="36"/>
                </a:cubicBezTo>
                <a:cubicBezTo>
                  <a:pt x="356" y="38"/>
                  <a:pt x="363" y="41"/>
                  <a:pt x="370" y="44"/>
                </a:cubicBezTo>
                <a:cubicBezTo>
                  <a:pt x="376" y="47"/>
                  <a:pt x="382" y="50"/>
                  <a:pt x="385" y="54"/>
                </a:cubicBezTo>
                <a:cubicBezTo>
                  <a:pt x="379" y="51"/>
                  <a:pt x="372" y="48"/>
                  <a:pt x="366" y="46"/>
                </a:cubicBezTo>
                <a:cubicBezTo>
                  <a:pt x="367" y="47"/>
                  <a:pt x="369" y="48"/>
                  <a:pt x="372" y="50"/>
                </a:cubicBezTo>
                <a:cubicBezTo>
                  <a:pt x="370" y="50"/>
                  <a:pt x="368" y="50"/>
                  <a:pt x="367" y="49"/>
                </a:cubicBezTo>
                <a:cubicBezTo>
                  <a:pt x="380" y="58"/>
                  <a:pt x="379" y="53"/>
                  <a:pt x="387" y="57"/>
                </a:cubicBezTo>
                <a:cubicBezTo>
                  <a:pt x="389" y="59"/>
                  <a:pt x="392" y="62"/>
                  <a:pt x="394" y="64"/>
                </a:cubicBezTo>
                <a:cubicBezTo>
                  <a:pt x="407" y="76"/>
                  <a:pt x="419" y="88"/>
                  <a:pt x="428" y="95"/>
                </a:cubicBezTo>
                <a:cubicBezTo>
                  <a:pt x="431" y="98"/>
                  <a:pt x="438" y="109"/>
                  <a:pt x="433" y="106"/>
                </a:cubicBezTo>
                <a:cubicBezTo>
                  <a:pt x="430" y="103"/>
                  <a:pt x="427" y="101"/>
                  <a:pt x="424" y="98"/>
                </a:cubicBezTo>
                <a:cubicBezTo>
                  <a:pt x="421" y="95"/>
                  <a:pt x="417" y="91"/>
                  <a:pt x="411" y="84"/>
                </a:cubicBezTo>
                <a:cubicBezTo>
                  <a:pt x="410" y="81"/>
                  <a:pt x="421" y="93"/>
                  <a:pt x="418" y="89"/>
                </a:cubicBezTo>
                <a:cubicBezTo>
                  <a:pt x="413" y="84"/>
                  <a:pt x="404" y="73"/>
                  <a:pt x="398" y="71"/>
                </a:cubicBezTo>
                <a:cubicBezTo>
                  <a:pt x="403" y="75"/>
                  <a:pt x="408" y="79"/>
                  <a:pt x="412" y="84"/>
                </a:cubicBezTo>
                <a:cubicBezTo>
                  <a:pt x="410" y="85"/>
                  <a:pt x="407" y="78"/>
                  <a:pt x="403" y="77"/>
                </a:cubicBezTo>
                <a:cubicBezTo>
                  <a:pt x="406" y="82"/>
                  <a:pt x="415" y="88"/>
                  <a:pt x="419" y="95"/>
                </a:cubicBezTo>
                <a:cubicBezTo>
                  <a:pt x="418" y="94"/>
                  <a:pt x="418" y="94"/>
                  <a:pt x="418" y="94"/>
                </a:cubicBezTo>
                <a:cubicBezTo>
                  <a:pt x="423" y="99"/>
                  <a:pt x="425" y="102"/>
                  <a:pt x="427" y="104"/>
                </a:cubicBezTo>
                <a:cubicBezTo>
                  <a:pt x="428" y="107"/>
                  <a:pt x="430" y="110"/>
                  <a:pt x="434" y="116"/>
                </a:cubicBezTo>
                <a:cubicBezTo>
                  <a:pt x="437" y="115"/>
                  <a:pt x="434" y="110"/>
                  <a:pt x="430" y="104"/>
                </a:cubicBezTo>
                <a:cubicBezTo>
                  <a:pt x="437" y="114"/>
                  <a:pt x="445" y="127"/>
                  <a:pt x="448" y="141"/>
                </a:cubicBezTo>
                <a:cubicBezTo>
                  <a:pt x="449" y="148"/>
                  <a:pt x="449" y="156"/>
                  <a:pt x="447" y="163"/>
                </a:cubicBezTo>
                <a:cubicBezTo>
                  <a:pt x="445" y="169"/>
                  <a:pt x="442" y="176"/>
                  <a:pt x="439" y="180"/>
                </a:cubicBezTo>
                <a:cubicBezTo>
                  <a:pt x="440" y="176"/>
                  <a:pt x="441" y="171"/>
                  <a:pt x="442" y="166"/>
                </a:cubicBezTo>
                <a:cubicBezTo>
                  <a:pt x="441" y="171"/>
                  <a:pt x="439" y="176"/>
                  <a:pt x="436" y="181"/>
                </a:cubicBezTo>
                <a:cubicBezTo>
                  <a:pt x="434" y="185"/>
                  <a:pt x="432" y="188"/>
                  <a:pt x="431" y="187"/>
                </a:cubicBezTo>
                <a:cubicBezTo>
                  <a:pt x="434" y="183"/>
                  <a:pt x="434" y="181"/>
                  <a:pt x="434" y="180"/>
                </a:cubicBezTo>
                <a:cubicBezTo>
                  <a:pt x="434" y="180"/>
                  <a:pt x="434" y="179"/>
                  <a:pt x="435" y="177"/>
                </a:cubicBezTo>
                <a:cubicBezTo>
                  <a:pt x="435" y="176"/>
                  <a:pt x="435" y="176"/>
                  <a:pt x="435" y="176"/>
                </a:cubicBezTo>
                <a:cubicBezTo>
                  <a:pt x="436" y="175"/>
                  <a:pt x="437" y="172"/>
                  <a:pt x="436" y="174"/>
                </a:cubicBezTo>
                <a:cubicBezTo>
                  <a:pt x="434" y="181"/>
                  <a:pt x="428" y="192"/>
                  <a:pt x="423" y="199"/>
                </a:cubicBezTo>
                <a:cubicBezTo>
                  <a:pt x="425" y="195"/>
                  <a:pt x="419" y="201"/>
                  <a:pt x="417" y="201"/>
                </a:cubicBezTo>
                <a:cubicBezTo>
                  <a:pt x="412" y="207"/>
                  <a:pt x="418" y="202"/>
                  <a:pt x="419" y="202"/>
                </a:cubicBezTo>
                <a:cubicBezTo>
                  <a:pt x="416" y="206"/>
                  <a:pt x="412" y="212"/>
                  <a:pt x="408" y="213"/>
                </a:cubicBezTo>
                <a:cubicBezTo>
                  <a:pt x="405" y="214"/>
                  <a:pt x="406" y="212"/>
                  <a:pt x="408" y="210"/>
                </a:cubicBezTo>
                <a:cubicBezTo>
                  <a:pt x="411" y="208"/>
                  <a:pt x="413" y="205"/>
                  <a:pt x="414" y="204"/>
                </a:cubicBezTo>
                <a:cubicBezTo>
                  <a:pt x="408" y="210"/>
                  <a:pt x="402" y="216"/>
                  <a:pt x="395" y="221"/>
                </a:cubicBezTo>
                <a:cubicBezTo>
                  <a:pt x="395" y="220"/>
                  <a:pt x="395" y="220"/>
                  <a:pt x="395" y="220"/>
                </a:cubicBezTo>
                <a:cubicBezTo>
                  <a:pt x="393" y="221"/>
                  <a:pt x="390" y="224"/>
                  <a:pt x="388" y="224"/>
                </a:cubicBezTo>
                <a:cubicBezTo>
                  <a:pt x="385" y="224"/>
                  <a:pt x="390" y="222"/>
                  <a:pt x="394" y="220"/>
                </a:cubicBezTo>
                <a:cubicBezTo>
                  <a:pt x="381" y="225"/>
                  <a:pt x="374" y="233"/>
                  <a:pt x="361" y="234"/>
                </a:cubicBezTo>
                <a:cubicBezTo>
                  <a:pt x="355" y="238"/>
                  <a:pt x="355" y="238"/>
                  <a:pt x="355" y="238"/>
                </a:cubicBezTo>
                <a:cubicBezTo>
                  <a:pt x="354" y="238"/>
                  <a:pt x="352" y="238"/>
                  <a:pt x="354" y="238"/>
                </a:cubicBezTo>
                <a:cubicBezTo>
                  <a:pt x="347" y="241"/>
                  <a:pt x="347" y="241"/>
                  <a:pt x="347" y="241"/>
                </a:cubicBezTo>
                <a:cubicBezTo>
                  <a:pt x="334" y="247"/>
                  <a:pt x="343" y="240"/>
                  <a:pt x="338" y="241"/>
                </a:cubicBezTo>
                <a:cubicBezTo>
                  <a:pt x="339" y="241"/>
                  <a:pt x="339" y="241"/>
                  <a:pt x="339" y="241"/>
                </a:cubicBezTo>
                <a:cubicBezTo>
                  <a:pt x="335" y="242"/>
                  <a:pt x="331" y="242"/>
                  <a:pt x="334" y="241"/>
                </a:cubicBezTo>
                <a:cubicBezTo>
                  <a:pt x="330" y="243"/>
                  <a:pt x="325" y="245"/>
                  <a:pt x="321" y="247"/>
                </a:cubicBezTo>
                <a:cubicBezTo>
                  <a:pt x="321" y="247"/>
                  <a:pt x="321" y="247"/>
                  <a:pt x="321" y="247"/>
                </a:cubicBezTo>
                <a:cubicBezTo>
                  <a:pt x="318" y="249"/>
                  <a:pt x="312" y="251"/>
                  <a:pt x="306" y="254"/>
                </a:cubicBezTo>
                <a:cubicBezTo>
                  <a:pt x="301" y="256"/>
                  <a:pt x="296" y="258"/>
                  <a:pt x="296" y="260"/>
                </a:cubicBezTo>
                <a:cubicBezTo>
                  <a:pt x="292" y="261"/>
                  <a:pt x="289" y="261"/>
                  <a:pt x="291" y="260"/>
                </a:cubicBezTo>
                <a:cubicBezTo>
                  <a:pt x="280" y="262"/>
                  <a:pt x="293" y="257"/>
                  <a:pt x="275" y="261"/>
                </a:cubicBezTo>
                <a:cubicBezTo>
                  <a:pt x="275" y="260"/>
                  <a:pt x="277" y="260"/>
                  <a:pt x="280" y="259"/>
                </a:cubicBezTo>
                <a:cubicBezTo>
                  <a:pt x="275" y="260"/>
                  <a:pt x="274" y="260"/>
                  <a:pt x="273" y="261"/>
                </a:cubicBezTo>
                <a:cubicBezTo>
                  <a:pt x="273" y="261"/>
                  <a:pt x="272" y="260"/>
                  <a:pt x="271" y="260"/>
                </a:cubicBezTo>
                <a:cubicBezTo>
                  <a:pt x="271" y="261"/>
                  <a:pt x="264" y="262"/>
                  <a:pt x="260" y="263"/>
                </a:cubicBezTo>
                <a:cubicBezTo>
                  <a:pt x="266" y="259"/>
                  <a:pt x="266" y="259"/>
                  <a:pt x="266" y="259"/>
                </a:cubicBezTo>
                <a:cubicBezTo>
                  <a:pt x="262" y="261"/>
                  <a:pt x="260" y="262"/>
                  <a:pt x="252" y="262"/>
                </a:cubicBezTo>
                <a:cubicBezTo>
                  <a:pt x="257" y="260"/>
                  <a:pt x="257" y="260"/>
                  <a:pt x="257" y="260"/>
                </a:cubicBezTo>
                <a:cubicBezTo>
                  <a:pt x="245" y="262"/>
                  <a:pt x="256" y="264"/>
                  <a:pt x="242" y="264"/>
                </a:cubicBezTo>
                <a:cubicBezTo>
                  <a:pt x="246" y="264"/>
                  <a:pt x="251" y="264"/>
                  <a:pt x="255" y="264"/>
                </a:cubicBezTo>
                <a:cubicBezTo>
                  <a:pt x="240" y="266"/>
                  <a:pt x="245" y="268"/>
                  <a:pt x="239" y="271"/>
                </a:cubicBezTo>
                <a:cubicBezTo>
                  <a:pt x="223" y="275"/>
                  <a:pt x="203" y="271"/>
                  <a:pt x="190" y="276"/>
                </a:cubicBezTo>
                <a:cubicBezTo>
                  <a:pt x="188" y="274"/>
                  <a:pt x="190" y="274"/>
                  <a:pt x="186" y="272"/>
                </a:cubicBezTo>
                <a:cubicBezTo>
                  <a:pt x="196" y="272"/>
                  <a:pt x="201" y="271"/>
                  <a:pt x="206" y="269"/>
                </a:cubicBezTo>
                <a:cubicBezTo>
                  <a:pt x="225" y="266"/>
                  <a:pt x="211" y="274"/>
                  <a:pt x="233" y="269"/>
                </a:cubicBezTo>
                <a:cubicBezTo>
                  <a:pt x="231" y="268"/>
                  <a:pt x="225" y="268"/>
                  <a:pt x="219" y="269"/>
                </a:cubicBezTo>
                <a:cubicBezTo>
                  <a:pt x="218" y="268"/>
                  <a:pt x="225" y="266"/>
                  <a:pt x="230" y="265"/>
                </a:cubicBezTo>
                <a:cubicBezTo>
                  <a:pt x="218" y="267"/>
                  <a:pt x="200" y="266"/>
                  <a:pt x="192" y="266"/>
                </a:cubicBezTo>
                <a:cubicBezTo>
                  <a:pt x="189" y="267"/>
                  <a:pt x="179" y="268"/>
                  <a:pt x="175" y="267"/>
                </a:cubicBezTo>
                <a:cubicBezTo>
                  <a:pt x="175" y="269"/>
                  <a:pt x="156" y="269"/>
                  <a:pt x="162" y="271"/>
                </a:cubicBezTo>
                <a:cubicBezTo>
                  <a:pt x="148" y="271"/>
                  <a:pt x="153" y="268"/>
                  <a:pt x="140" y="270"/>
                </a:cubicBezTo>
                <a:cubicBezTo>
                  <a:pt x="145" y="268"/>
                  <a:pt x="132" y="267"/>
                  <a:pt x="138" y="266"/>
                </a:cubicBezTo>
                <a:cubicBezTo>
                  <a:pt x="142" y="268"/>
                  <a:pt x="156" y="266"/>
                  <a:pt x="163" y="265"/>
                </a:cubicBezTo>
                <a:cubicBezTo>
                  <a:pt x="157" y="264"/>
                  <a:pt x="150" y="264"/>
                  <a:pt x="144" y="263"/>
                </a:cubicBezTo>
                <a:cubicBezTo>
                  <a:pt x="149" y="264"/>
                  <a:pt x="142" y="265"/>
                  <a:pt x="139" y="265"/>
                </a:cubicBezTo>
                <a:cubicBezTo>
                  <a:pt x="137" y="263"/>
                  <a:pt x="137" y="263"/>
                  <a:pt x="137" y="263"/>
                </a:cubicBezTo>
                <a:cubicBezTo>
                  <a:pt x="135" y="265"/>
                  <a:pt x="127" y="263"/>
                  <a:pt x="118" y="261"/>
                </a:cubicBezTo>
                <a:cubicBezTo>
                  <a:pt x="109" y="260"/>
                  <a:pt x="99" y="257"/>
                  <a:pt x="94" y="259"/>
                </a:cubicBezTo>
                <a:cubicBezTo>
                  <a:pt x="100" y="260"/>
                  <a:pt x="105" y="262"/>
                  <a:pt x="108" y="260"/>
                </a:cubicBezTo>
                <a:cubicBezTo>
                  <a:pt x="119" y="263"/>
                  <a:pt x="105" y="263"/>
                  <a:pt x="110" y="265"/>
                </a:cubicBezTo>
                <a:cubicBezTo>
                  <a:pt x="101" y="265"/>
                  <a:pt x="90" y="263"/>
                  <a:pt x="80" y="260"/>
                </a:cubicBezTo>
                <a:cubicBezTo>
                  <a:pt x="69" y="257"/>
                  <a:pt x="58" y="254"/>
                  <a:pt x="49" y="251"/>
                </a:cubicBezTo>
                <a:cubicBezTo>
                  <a:pt x="53" y="251"/>
                  <a:pt x="61" y="255"/>
                  <a:pt x="62" y="253"/>
                </a:cubicBezTo>
                <a:cubicBezTo>
                  <a:pt x="56" y="250"/>
                  <a:pt x="49" y="248"/>
                  <a:pt x="42" y="245"/>
                </a:cubicBezTo>
                <a:cubicBezTo>
                  <a:pt x="34" y="241"/>
                  <a:pt x="27" y="237"/>
                  <a:pt x="22" y="231"/>
                </a:cubicBezTo>
                <a:cubicBezTo>
                  <a:pt x="23" y="231"/>
                  <a:pt x="24" y="231"/>
                  <a:pt x="25" y="232"/>
                </a:cubicBezTo>
                <a:cubicBezTo>
                  <a:pt x="21" y="227"/>
                  <a:pt x="20" y="226"/>
                  <a:pt x="20" y="224"/>
                </a:cubicBezTo>
                <a:cubicBezTo>
                  <a:pt x="20" y="223"/>
                  <a:pt x="19" y="221"/>
                  <a:pt x="17" y="215"/>
                </a:cubicBezTo>
                <a:cubicBezTo>
                  <a:pt x="17" y="215"/>
                  <a:pt x="17" y="217"/>
                  <a:pt x="16" y="214"/>
                </a:cubicBezTo>
                <a:cubicBezTo>
                  <a:pt x="15" y="208"/>
                  <a:pt x="15" y="208"/>
                  <a:pt x="16" y="208"/>
                </a:cubicBezTo>
                <a:cubicBezTo>
                  <a:pt x="16" y="208"/>
                  <a:pt x="17" y="209"/>
                  <a:pt x="17" y="205"/>
                </a:cubicBezTo>
                <a:cubicBezTo>
                  <a:pt x="15" y="198"/>
                  <a:pt x="16" y="196"/>
                  <a:pt x="17" y="194"/>
                </a:cubicBezTo>
                <a:cubicBezTo>
                  <a:pt x="18" y="192"/>
                  <a:pt x="18" y="189"/>
                  <a:pt x="20" y="180"/>
                </a:cubicBezTo>
                <a:cubicBezTo>
                  <a:pt x="20" y="182"/>
                  <a:pt x="20" y="182"/>
                  <a:pt x="20" y="182"/>
                </a:cubicBezTo>
                <a:cubicBezTo>
                  <a:pt x="21" y="175"/>
                  <a:pt x="24" y="167"/>
                  <a:pt x="29" y="160"/>
                </a:cubicBezTo>
                <a:cubicBezTo>
                  <a:pt x="33" y="153"/>
                  <a:pt x="39" y="146"/>
                  <a:pt x="43" y="140"/>
                </a:cubicBezTo>
                <a:cubicBezTo>
                  <a:pt x="42" y="140"/>
                  <a:pt x="36" y="150"/>
                  <a:pt x="35" y="148"/>
                </a:cubicBezTo>
                <a:cubicBezTo>
                  <a:pt x="38" y="142"/>
                  <a:pt x="42" y="137"/>
                  <a:pt x="46" y="132"/>
                </a:cubicBezTo>
                <a:cubicBezTo>
                  <a:pt x="47" y="131"/>
                  <a:pt x="53" y="125"/>
                  <a:pt x="50" y="130"/>
                </a:cubicBezTo>
                <a:cubicBezTo>
                  <a:pt x="49" y="132"/>
                  <a:pt x="47" y="134"/>
                  <a:pt x="46" y="135"/>
                </a:cubicBezTo>
                <a:cubicBezTo>
                  <a:pt x="48" y="134"/>
                  <a:pt x="48" y="134"/>
                  <a:pt x="48" y="134"/>
                </a:cubicBezTo>
                <a:cubicBezTo>
                  <a:pt x="59" y="119"/>
                  <a:pt x="45" y="132"/>
                  <a:pt x="43" y="131"/>
                </a:cubicBezTo>
                <a:cubicBezTo>
                  <a:pt x="50" y="124"/>
                  <a:pt x="51" y="120"/>
                  <a:pt x="56" y="115"/>
                </a:cubicBezTo>
                <a:cubicBezTo>
                  <a:pt x="59" y="114"/>
                  <a:pt x="49" y="126"/>
                  <a:pt x="56" y="121"/>
                </a:cubicBezTo>
                <a:cubicBezTo>
                  <a:pt x="58" y="119"/>
                  <a:pt x="62" y="115"/>
                  <a:pt x="67" y="110"/>
                </a:cubicBezTo>
                <a:cubicBezTo>
                  <a:pt x="71" y="105"/>
                  <a:pt x="75" y="100"/>
                  <a:pt x="77" y="97"/>
                </a:cubicBezTo>
                <a:cubicBezTo>
                  <a:pt x="82" y="96"/>
                  <a:pt x="90" y="90"/>
                  <a:pt x="97" y="85"/>
                </a:cubicBezTo>
                <a:cubicBezTo>
                  <a:pt x="104" y="80"/>
                  <a:pt x="110" y="76"/>
                  <a:pt x="111" y="77"/>
                </a:cubicBezTo>
                <a:cubicBezTo>
                  <a:pt x="110" y="77"/>
                  <a:pt x="112" y="74"/>
                  <a:pt x="116" y="72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127" y="69"/>
                  <a:pt x="124" y="65"/>
                  <a:pt x="132" y="61"/>
                </a:cubicBezTo>
                <a:cubicBezTo>
                  <a:pt x="132" y="62"/>
                  <a:pt x="130" y="64"/>
                  <a:pt x="129" y="65"/>
                </a:cubicBezTo>
                <a:cubicBezTo>
                  <a:pt x="146" y="57"/>
                  <a:pt x="153" y="48"/>
                  <a:pt x="171" y="43"/>
                </a:cubicBezTo>
                <a:cubicBezTo>
                  <a:pt x="171" y="44"/>
                  <a:pt x="170" y="44"/>
                  <a:pt x="168" y="45"/>
                </a:cubicBezTo>
                <a:cubicBezTo>
                  <a:pt x="168" y="46"/>
                  <a:pt x="171" y="44"/>
                  <a:pt x="176" y="41"/>
                </a:cubicBezTo>
                <a:cubicBezTo>
                  <a:pt x="170" y="42"/>
                  <a:pt x="170" y="42"/>
                  <a:pt x="170" y="42"/>
                </a:cubicBezTo>
                <a:cubicBezTo>
                  <a:pt x="177" y="35"/>
                  <a:pt x="195" y="35"/>
                  <a:pt x="209" y="30"/>
                </a:cubicBezTo>
                <a:cubicBezTo>
                  <a:pt x="208" y="31"/>
                  <a:pt x="197" y="35"/>
                  <a:pt x="203" y="34"/>
                </a:cubicBezTo>
                <a:cubicBezTo>
                  <a:pt x="213" y="31"/>
                  <a:pt x="211" y="27"/>
                  <a:pt x="223" y="27"/>
                </a:cubicBezTo>
                <a:cubicBezTo>
                  <a:pt x="218" y="28"/>
                  <a:pt x="220" y="30"/>
                  <a:pt x="215" y="32"/>
                </a:cubicBezTo>
                <a:cubicBezTo>
                  <a:pt x="223" y="30"/>
                  <a:pt x="228" y="30"/>
                  <a:pt x="230" y="28"/>
                </a:cubicBezTo>
                <a:cubicBezTo>
                  <a:pt x="233" y="28"/>
                  <a:pt x="234" y="28"/>
                  <a:pt x="234" y="28"/>
                </a:cubicBezTo>
                <a:cubicBezTo>
                  <a:pt x="238" y="26"/>
                  <a:pt x="246" y="26"/>
                  <a:pt x="251" y="25"/>
                </a:cubicBezTo>
                <a:cubicBezTo>
                  <a:pt x="250" y="26"/>
                  <a:pt x="250" y="26"/>
                  <a:pt x="250" y="26"/>
                </a:cubicBezTo>
                <a:cubicBezTo>
                  <a:pt x="259" y="20"/>
                  <a:pt x="266" y="23"/>
                  <a:pt x="278" y="21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82" y="21"/>
                  <a:pt x="290" y="19"/>
                  <a:pt x="299" y="20"/>
                </a:cubicBezTo>
                <a:cubicBezTo>
                  <a:pt x="294" y="22"/>
                  <a:pt x="294" y="22"/>
                  <a:pt x="294" y="22"/>
                </a:cubicBezTo>
                <a:cubicBezTo>
                  <a:pt x="302" y="20"/>
                  <a:pt x="315" y="21"/>
                  <a:pt x="321" y="19"/>
                </a:cubicBezTo>
                <a:cubicBezTo>
                  <a:pt x="324" y="19"/>
                  <a:pt x="315" y="22"/>
                  <a:pt x="327" y="21"/>
                </a:cubicBezTo>
                <a:cubicBezTo>
                  <a:pt x="329" y="20"/>
                  <a:pt x="339" y="19"/>
                  <a:pt x="342" y="20"/>
                </a:cubicBezTo>
                <a:cubicBezTo>
                  <a:pt x="342" y="21"/>
                  <a:pt x="340" y="22"/>
                  <a:pt x="337" y="21"/>
                </a:cubicBezTo>
                <a:cubicBezTo>
                  <a:pt x="335" y="21"/>
                  <a:pt x="336" y="21"/>
                  <a:pt x="337" y="20"/>
                </a:cubicBezTo>
                <a:cubicBezTo>
                  <a:pt x="333" y="22"/>
                  <a:pt x="333" y="22"/>
                  <a:pt x="333" y="22"/>
                </a:cubicBezTo>
                <a:cubicBezTo>
                  <a:pt x="342" y="22"/>
                  <a:pt x="341" y="20"/>
                  <a:pt x="350" y="21"/>
                </a:cubicBezTo>
                <a:cubicBezTo>
                  <a:pt x="352" y="22"/>
                  <a:pt x="347" y="22"/>
                  <a:pt x="346" y="23"/>
                </a:cubicBezTo>
                <a:cubicBezTo>
                  <a:pt x="358" y="22"/>
                  <a:pt x="370" y="21"/>
                  <a:pt x="382" y="21"/>
                </a:cubicBezTo>
                <a:cubicBezTo>
                  <a:pt x="383" y="20"/>
                  <a:pt x="378" y="19"/>
                  <a:pt x="382" y="18"/>
                </a:cubicBezTo>
                <a:cubicBezTo>
                  <a:pt x="369" y="17"/>
                  <a:pt x="369" y="17"/>
                  <a:pt x="369" y="17"/>
                </a:cubicBezTo>
                <a:cubicBezTo>
                  <a:pt x="363" y="15"/>
                  <a:pt x="376" y="15"/>
                  <a:pt x="381" y="15"/>
                </a:cubicBezTo>
                <a:cubicBezTo>
                  <a:pt x="373" y="14"/>
                  <a:pt x="373" y="14"/>
                  <a:pt x="373" y="14"/>
                </a:cubicBezTo>
                <a:cubicBezTo>
                  <a:pt x="372" y="14"/>
                  <a:pt x="373" y="14"/>
                  <a:pt x="373" y="14"/>
                </a:cubicBezTo>
                <a:cubicBezTo>
                  <a:pt x="367" y="14"/>
                  <a:pt x="367" y="14"/>
                  <a:pt x="367" y="14"/>
                </a:cubicBezTo>
                <a:cubicBezTo>
                  <a:pt x="384" y="11"/>
                  <a:pt x="349" y="10"/>
                  <a:pt x="368" y="9"/>
                </a:cubicBezTo>
                <a:cubicBezTo>
                  <a:pt x="363" y="9"/>
                  <a:pt x="358" y="10"/>
                  <a:pt x="355" y="11"/>
                </a:cubicBezTo>
                <a:cubicBezTo>
                  <a:pt x="346" y="11"/>
                  <a:pt x="348" y="10"/>
                  <a:pt x="345" y="10"/>
                </a:cubicBezTo>
                <a:cubicBezTo>
                  <a:pt x="358" y="8"/>
                  <a:pt x="358" y="8"/>
                  <a:pt x="358" y="8"/>
                </a:cubicBezTo>
                <a:cubicBezTo>
                  <a:pt x="338" y="9"/>
                  <a:pt x="360" y="6"/>
                  <a:pt x="345" y="5"/>
                </a:cubicBezTo>
                <a:cubicBezTo>
                  <a:pt x="328" y="7"/>
                  <a:pt x="318" y="2"/>
                  <a:pt x="309" y="2"/>
                </a:cubicBezTo>
                <a:cubicBezTo>
                  <a:pt x="292" y="4"/>
                  <a:pt x="316" y="4"/>
                  <a:pt x="305" y="6"/>
                </a:cubicBezTo>
                <a:cubicBezTo>
                  <a:pt x="296" y="7"/>
                  <a:pt x="301" y="5"/>
                  <a:pt x="295" y="5"/>
                </a:cubicBezTo>
                <a:cubicBezTo>
                  <a:pt x="291" y="8"/>
                  <a:pt x="291" y="8"/>
                  <a:pt x="291" y="8"/>
                </a:cubicBezTo>
                <a:cubicBezTo>
                  <a:pt x="280" y="9"/>
                  <a:pt x="290" y="6"/>
                  <a:pt x="284" y="7"/>
                </a:cubicBezTo>
                <a:cubicBezTo>
                  <a:pt x="275" y="7"/>
                  <a:pt x="286" y="6"/>
                  <a:pt x="288" y="4"/>
                </a:cubicBezTo>
                <a:cubicBezTo>
                  <a:pt x="286" y="5"/>
                  <a:pt x="277" y="7"/>
                  <a:pt x="273" y="6"/>
                </a:cubicBezTo>
                <a:cubicBezTo>
                  <a:pt x="273" y="6"/>
                  <a:pt x="284" y="4"/>
                  <a:pt x="277" y="5"/>
                </a:cubicBezTo>
                <a:cubicBezTo>
                  <a:pt x="263" y="7"/>
                  <a:pt x="255" y="8"/>
                  <a:pt x="247" y="9"/>
                </a:cubicBezTo>
                <a:cubicBezTo>
                  <a:pt x="239" y="10"/>
                  <a:pt x="231" y="11"/>
                  <a:pt x="219" y="14"/>
                </a:cubicBezTo>
                <a:cubicBezTo>
                  <a:pt x="221" y="12"/>
                  <a:pt x="221" y="12"/>
                  <a:pt x="221" y="12"/>
                </a:cubicBezTo>
                <a:cubicBezTo>
                  <a:pt x="218" y="13"/>
                  <a:pt x="216" y="14"/>
                  <a:pt x="213" y="15"/>
                </a:cubicBezTo>
                <a:cubicBezTo>
                  <a:pt x="215" y="13"/>
                  <a:pt x="215" y="13"/>
                  <a:pt x="215" y="13"/>
                </a:cubicBezTo>
                <a:cubicBezTo>
                  <a:pt x="213" y="14"/>
                  <a:pt x="206" y="16"/>
                  <a:pt x="198" y="19"/>
                </a:cubicBezTo>
                <a:cubicBezTo>
                  <a:pt x="172" y="28"/>
                  <a:pt x="172" y="28"/>
                  <a:pt x="172" y="28"/>
                </a:cubicBezTo>
                <a:cubicBezTo>
                  <a:pt x="179" y="23"/>
                  <a:pt x="179" y="23"/>
                  <a:pt x="179" y="23"/>
                </a:cubicBezTo>
                <a:cubicBezTo>
                  <a:pt x="175" y="26"/>
                  <a:pt x="170" y="28"/>
                  <a:pt x="166" y="30"/>
                </a:cubicBezTo>
                <a:cubicBezTo>
                  <a:pt x="167" y="27"/>
                  <a:pt x="167" y="27"/>
                  <a:pt x="167" y="27"/>
                </a:cubicBezTo>
                <a:cubicBezTo>
                  <a:pt x="163" y="31"/>
                  <a:pt x="146" y="36"/>
                  <a:pt x="134" y="43"/>
                </a:cubicBezTo>
                <a:cubicBezTo>
                  <a:pt x="134" y="42"/>
                  <a:pt x="134" y="42"/>
                  <a:pt x="134" y="42"/>
                </a:cubicBezTo>
                <a:cubicBezTo>
                  <a:pt x="131" y="43"/>
                  <a:pt x="129" y="45"/>
                  <a:pt x="126" y="46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21" y="48"/>
                  <a:pt x="113" y="55"/>
                  <a:pt x="105" y="59"/>
                </a:cubicBezTo>
                <a:cubicBezTo>
                  <a:pt x="110" y="56"/>
                  <a:pt x="110" y="54"/>
                  <a:pt x="109" y="53"/>
                </a:cubicBezTo>
                <a:close/>
                <a:moveTo>
                  <a:pt x="136" y="282"/>
                </a:moveTo>
                <a:cubicBezTo>
                  <a:pt x="140" y="282"/>
                  <a:pt x="140" y="282"/>
                  <a:pt x="140" y="282"/>
                </a:cubicBezTo>
                <a:cubicBezTo>
                  <a:pt x="138" y="282"/>
                  <a:pt x="137" y="282"/>
                  <a:pt x="136" y="282"/>
                </a:cubicBezTo>
                <a:cubicBezTo>
                  <a:pt x="130" y="282"/>
                  <a:pt x="130" y="282"/>
                  <a:pt x="130" y="282"/>
                </a:cubicBezTo>
                <a:cubicBezTo>
                  <a:pt x="131" y="281"/>
                  <a:pt x="133" y="282"/>
                  <a:pt x="136" y="282"/>
                </a:cubicBezTo>
                <a:close/>
                <a:moveTo>
                  <a:pt x="345" y="25"/>
                </a:moveTo>
                <a:cubicBezTo>
                  <a:pt x="348" y="27"/>
                  <a:pt x="351" y="28"/>
                  <a:pt x="354" y="29"/>
                </a:cubicBezTo>
                <a:cubicBezTo>
                  <a:pt x="352" y="28"/>
                  <a:pt x="346" y="26"/>
                  <a:pt x="349" y="26"/>
                </a:cubicBezTo>
                <a:cubicBezTo>
                  <a:pt x="347" y="26"/>
                  <a:pt x="344" y="24"/>
                  <a:pt x="345" y="25"/>
                </a:cubicBezTo>
                <a:close/>
                <a:moveTo>
                  <a:pt x="124" y="268"/>
                </a:moveTo>
                <a:cubicBezTo>
                  <a:pt x="129" y="267"/>
                  <a:pt x="129" y="267"/>
                  <a:pt x="129" y="267"/>
                </a:cubicBezTo>
                <a:cubicBezTo>
                  <a:pt x="132" y="269"/>
                  <a:pt x="132" y="269"/>
                  <a:pt x="132" y="269"/>
                </a:cubicBezTo>
                <a:lnTo>
                  <a:pt x="124" y="268"/>
                </a:lnTo>
                <a:close/>
                <a:moveTo>
                  <a:pt x="52" y="251"/>
                </a:moveTo>
                <a:cubicBezTo>
                  <a:pt x="55" y="251"/>
                  <a:pt x="57" y="252"/>
                  <a:pt x="60" y="253"/>
                </a:cubicBezTo>
                <a:cubicBezTo>
                  <a:pt x="61" y="253"/>
                  <a:pt x="61" y="253"/>
                  <a:pt x="61" y="253"/>
                </a:cubicBezTo>
                <a:cubicBezTo>
                  <a:pt x="58" y="253"/>
                  <a:pt x="55" y="252"/>
                  <a:pt x="53" y="251"/>
                </a:cubicBezTo>
                <a:lnTo>
                  <a:pt x="52" y="251"/>
                </a:lnTo>
                <a:close/>
                <a:moveTo>
                  <a:pt x="12" y="163"/>
                </a:moveTo>
                <a:cubicBezTo>
                  <a:pt x="12" y="169"/>
                  <a:pt x="9" y="170"/>
                  <a:pt x="8" y="177"/>
                </a:cubicBezTo>
                <a:cubicBezTo>
                  <a:pt x="8" y="178"/>
                  <a:pt x="8" y="178"/>
                  <a:pt x="8" y="179"/>
                </a:cubicBezTo>
                <a:cubicBezTo>
                  <a:pt x="8" y="178"/>
                  <a:pt x="8" y="178"/>
                  <a:pt x="8" y="177"/>
                </a:cubicBezTo>
                <a:cubicBezTo>
                  <a:pt x="8" y="173"/>
                  <a:pt x="7" y="168"/>
                  <a:pt x="12" y="163"/>
                </a:cubicBezTo>
                <a:close/>
                <a:moveTo>
                  <a:pt x="117" y="278"/>
                </a:moveTo>
                <a:cubicBezTo>
                  <a:pt x="117" y="279"/>
                  <a:pt x="107" y="278"/>
                  <a:pt x="104" y="278"/>
                </a:cubicBezTo>
                <a:cubicBezTo>
                  <a:pt x="100" y="278"/>
                  <a:pt x="106" y="277"/>
                  <a:pt x="107" y="277"/>
                </a:cubicBezTo>
                <a:cubicBezTo>
                  <a:pt x="105" y="276"/>
                  <a:pt x="104" y="276"/>
                  <a:pt x="101" y="276"/>
                </a:cubicBezTo>
                <a:cubicBezTo>
                  <a:pt x="103" y="273"/>
                  <a:pt x="109" y="278"/>
                  <a:pt x="117" y="278"/>
                </a:cubicBezTo>
                <a:close/>
                <a:moveTo>
                  <a:pt x="301" y="267"/>
                </a:moveTo>
                <a:cubicBezTo>
                  <a:pt x="294" y="270"/>
                  <a:pt x="294" y="270"/>
                  <a:pt x="294" y="270"/>
                </a:cubicBezTo>
                <a:cubicBezTo>
                  <a:pt x="296" y="269"/>
                  <a:pt x="296" y="269"/>
                  <a:pt x="296" y="269"/>
                </a:cubicBezTo>
                <a:lnTo>
                  <a:pt x="301" y="267"/>
                </a:lnTo>
                <a:close/>
                <a:moveTo>
                  <a:pt x="338" y="257"/>
                </a:moveTo>
                <a:cubicBezTo>
                  <a:pt x="347" y="254"/>
                  <a:pt x="353" y="250"/>
                  <a:pt x="351" y="249"/>
                </a:cubicBezTo>
                <a:cubicBezTo>
                  <a:pt x="344" y="252"/>
                  <a:pt x="334" y="255"/>
                  <a:pt x="330" y="258"/>
                </a:cubicBezTo>
                <a:cubicBezTo>
                  <a:pt x="334" y="256"/>
                  <a:pt x="329" y="262"/>
                  <a:pt x="338" y="257"/>
                </a:cubicBezTo>
                <a:close/>
                <a:moveTo>
                  <a:pt x="36" y="250"/>
                </a:moveTo>
                <a:cubicBezTo>
                  <a:pt x="33" y="248"/>
                  <a:pt x="29" y="246"/>
                  <a:pt x="27" y="244"/>
                </a:cubicBezTo>
                <a:cubicBezTo>
                  <a:pt x="31" y="248"/>
                  <a:pt x="40" y="250"/>
                  <a:pt x="49" y="256"/>
                </a:cubicBezTo>
                <a:cubicBezTo>
                  <a:pt x="46" y="255"/>
                  <a:pt x="43" y="254"/>
                  <a:pt x="41" y="253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0" y="254"/>
                  <a:pt x="40" y="254"/>
                  <a:pt x="40" y="254"/>
                </a:cubicBezTo>
                <a:cubicBezTo>
                  <a:pt x="42" y="253"/>
                  <a:pt x="39" y="252"/>
                  <a:pt x="36" y="250"/>
                </a:cubicBezTo>
                <a:close/>
                <a:moveTo>
                  <a:pt x="405" y="226"/>
                </a:moveTo>
                <a:cubicBezTo>
                  <a:pt x="407" y="225"/>
                  <a:pt x="410" y="222"/>
                  <a:pt x="412" y="220"/>
                </a:cubicBezTo>
                <a:cubicBezTo>
                  <a:pt x="414" y="218"/>
                  <a:pt x="416" y="215"/>
                  <a:pt x="415" y="215"/>
                </a:cubicBezTo>
                <a:cubicBezTo>
                  <a:pt x="416" y="215"/>
                  <a:pt x="414" y="217"/>
                  <a:pt x="411" y="220"/>
                </a:cubicBezTo>
                <a:cubicBezTo>
                  <a:pt x="407" y="223"/>
                  <a:pt x="403" y="227"/>
                  <a:pt x="400" y="229"/>
                </a:cubicBezTo>
                <a:cubicBezTo>
                  <a:pt x="402" y="227"/>
                  <a:pt x="403" y="227"/>
                  <a:pt x="405" y="226"/>
                </a:cubicBezTo>
                <a:close/>
                <a:moveTo>
                  <a:pt x="401" y="226"/>
                </a:moveTo>
                <a:cubicBezTo>
                  <a:pt x="397" y="227"/>
                  <a:pt x="398" y="226"/>
                  <a:pt x="391" y="230"/>
                </a:cubicBezTo>
                <a:cubicBezTo>
                  <a:pt x="393" y="230"/>
                  <a:pt x="392" y="235"/>
                  <a:pt x="381" y="238"/>
                </a:cubicBezTo>
                <a:cubicBezTo>
                  <a:pt x="388" y="233"/>
                  <a:pt x="388" y="232"/>
                  <a:pt x="398" y="225"/>
                </a:cubicBezTo>
                <a:lnTo>
                  <a:pt x="401" y="226"/>
                </a:lnTo>
                <a:close/>
                <a:moveTo>
                  <a:pt x="386" y="238"/>
                </a:moveTo>
                <a:cubicBezTo>
                  <a:pt x="382" y="240"/>
                  <a:pt x="377" y="241"/>
                  <a:pt x="373" y="243"/>
                </a:cubicBezTo>
                <a:cubicBezTo>
                  <a:pt x="379" y="237"/>
                  <a:pt x="381" y="239"/>
                  <a:pt x="386" y="238"/>
                </a:cubicBezTo>
                <a:cubicBezTo>
                  <a:pt x="390" y="237"/>
                  <a:pt x="390" y="237"/>
                  <a:pt x="390" y="237"/>
                </a:cubicBezTo>
                <a:cubicBezTo>
                  <a:pt x="389" y="237"/>
                  <a:pt x="387" y="238"/>
                  <a:pt x="386" y="238"/>
                </a:cubicBezTo>
                <a:close/>
                <a:moveTo>
                  <a:pt x="453" y="169"/>
                </a:moveTo>
                <a:cubicBezTo>
                  <a:pt x="452" y="169"/>
                  <a:pt x="453" y="168"/>
                  <a:pt x="454" y="163"/>
                </a:cubicBezTo>
                <a:cubicBezTo>
                  <a:pt x="454" y="164"/>
                  <a:pt x="454" y="165"/>
                  <a:pt x="454" y="167"/>
                </a:cubicBezTo>
                <a:cubicBezTo>
                  <a:pt x="455" y="166"/>
                  <a:pt x="455" y="167"/>
                  <a:pt x="454" y="172"/>
                </a:cubicBezTo>
                <a:cubicBezTo>
                  <a:pt x="454" y="170"/>
                  <a:pt x="454" y="169"/>
                  <a:pt x="454" y="167"/>
                </a:cubicBezTo>
                <a:cubicBezTo>
                  <a:pt x="454" y="167"/>
                  <a:pt x="453" y="169"/>
                  <a:pt x="453" y="169"/>
                </a:cubicBezTo>
                <a:close/>
                <a:moveTo>
                  <a:pt x="398" y="232"/>
                </a:moveTo>
                <a:cubicBezTo>
                  <a:pt x="402" y="230"/>
                  <a:pt x="406" y="227"/>
                  <a:pt x="410" y="225"/>
                </a:cubicBezTo>
                <a:cubicBezTo>
                  <a:pt x="406" y="227"/>
                  <a:pt x="398" y="231"/>
                  <a:pt x="398" y="232"/>
                </a:cubicBezTo>
                <a:close/>
                <a:moveTo>
                  <a:pt x="448" y="179"/>
                </a:moveTo>
                <a:cubicBezTo>
                  <a:pt x="447" y="183"/>
                  <a:pt x="444" y="186"/>
                  <a:pt x="444" y="186"/>
                </a:cubicBezTo>
                <a:cubicBezTo>
                  <a:pt x="443" y="187"/>
                  <a:pt x="445" y="184"/>
                  <a:pt x="447" y="181"/>
                </a:cubicBezTo>
                <a:cubicBezTo>
                  <a:pt x="449" y="177"/>
                  <a:pt x="450" y="172"/>
                  <a:pt x="451" y="169"/>
                </a:cubicBezTo>
                <a:cubicBezTo>
                  <a:pt x="451" y="171"/>
                  <a:pt x="450" y="175"/>
                  <a:pt x="448" y="179"/>
                </a:cubicBezTo>
                <a:close/>
                <a:moveTo>
                  <a:pt x="253" y="5"/>
                </a:moveTo>
                <a:cubicBezTo>
                  <a:pt x="257" y="7"/>
                  <a:pt x="257" y="7"/>
                  <a:pt x="257" y="7"/>
                </a:cubicBezTo>
                <a:cubicBezTo>
                  <a:pt x="249" y="6"/>
                  <a:pt x="249" y="6"/>
                  <a:pt x="249" y="6"/>
                </a:cubicBezTo>
                <a:lnTo>
                  <a:pt x="253" y="5"/>
                </a:lnTo>
                <a:close/>
                <a:moveTo>
                  <a:pt x="335" y="26"/>
                </a:moveTo>
                <a:cubicBezTo>
                  <a:pt x="336" y="27"/>
                  <a:pt x="338" y="27"/>
                  <a:pt x="339" y="28"/>
                </a:cubicBezTo>
                <a:cubicBezTo>
                  <a:pt x="341" y="29"/>
                  <a:pt x="341" y="29"/>
                  <a:pt x="341" y="29"/>
                </a:cubicBezTo>
                <a:cubicBezTo>
                  <a:pt x="339" y="28"/>
                  <a:pt x="337" y="27"/>
                  <a:pt x="335" y="26"/>
                </a:cubicBezTo>
                <a:close/>
                <a:moveTo>
                  <a:pt x="415" y="80"/>
                </a:moveTo>
                <a:cubicBezTo>
                  <a:pt x="413" y="79"/>
                  <a:pt x="413" y="78"/>
                  <a:pt x="413" y="78"/>
                </a:cubicBezTo>
                <a:cubicBezTo>
                  <a:pt x="409" y="72"/>
                  <a:pt x="396" y="60"/>
                  <a:pt x="388" y="55"/>
                </a:cubicBezTo>
                <a:cubicBezTo>
                  <a:pt x="386" y="52"/>
                  <a:pt x="396" y="58"/>
                  <a:pt x="399" y="59"/>
                </a:cubicBezTo>
                <a:cubicBezTo>
                  <a:pt x="395" y="60"/>
                  <a:pt x="398" y="62"/>
                  <a:pt x="402" y="65"/>
                </a:cubicBezTo>
                <a:cubicBezTo>
                  <a:pt x="406" y="67"/>
                  <a:pt x="412" y="71"/>
                  <a:pt x="414" y="75"/>
                </a:cubicBezTo>
                <a:cubicBezTo>
                  <a:pt x="412" y="74"/>
                  <a:pt x="408" y="70"/>
                  <a:pt x="406" y="69"/>
                </a:cubicBezTo>
                <a:cubicBezTo>
                  <a:pt x="408" y="71"/>
                  <a:pt x="412" y="75"/>
                  <a:pt x="414" y="77"/>
                </a:cubicBezTo>
                <a:cubicBezTo>
                  <a:pt x="415" y="78"/>
                  <a:pt x="416" y="78"/>
                  <a:pt x="417" y="79"/>
                </a:cubicBezTo>
                <a:cubicBezTo>
                  <a:pt x="416" y="79"/>
                  <a:pt x="415" y="78"/>
                  <a:pt x="414" y="77"/>
                </a:cubicBezTo>
                <a:cubicBezTo>
                  <a:pt x="413" y="77"/>
                  <a:pt x="413" y="77"/>
                  <a:pt x="413" y="78"/>
                </a:cubicBezTo>
                <a:cubicBezTo>
                  <a:pt x="414" y="79"/>
                  <a:pt x="414" y="80"/>
                  <a:pt x="415" y="80"/>
                </a:cubicBezTo>
                <a:close/>
                <a:moveTo>
                  <a:pt x="437" y="188"/>
                </a:moveTo>
                <a:cubicBezTo>
                  <a:pt x="436" y="190"/>
                  <a:pt x="439" y="186"/>
                  <a:pt x="436" y="193"/>
                </a:cubicBezTo>
                <a:cubicBezTo>
                  <a:pt x="435" y="193"/>
                  <a:pt x="436" y="191"/>
                  <a:pt x="437" y="188"/>
                </a:cubicBezTo>
                <a:cubicBezTo>
                  <a:pt x="437" y="187"/>
                  <a:pt x="438" y="186"/>
                  <a:pt x="439" y="183"/>
                </a:cubicBezTo>
                <a:cubicBezTo>
                  <a:pt x="438" y="185"/>
                  <a:pt x="438" y="186"/>
                  <a:pt x="437" y="188"/>
                </a:cubicBezTo>
                <a:close/>
                <a:moveTo>
                  <a:pt x="437" y="181"/>
                </a:moveTo>
                <a:cubicBezTo>
                  <a:pt x="436" y="186"/>
                  <a:pt x="433" y="191"/>
                  <a:pt x="430" y="196"/>
                </a:cubicBezTo>
                <a:cubicBezTo>
                  <a:pt x="431" y="194"/>
                  <a:pt x="432" y="192"/>
                  <a:pt x="433" y="191"/>
                </a:cubicBezTo>
                <a:cubicBezTo>
                  <a:pt x="431" y="194"/>
                  <a:pt x="429" y="197"/>
                  <a:pt x="427" y="200"/>
                </a:cubicBezTo>
                <a:cubicBezTo>
                  <a:pt x="427" y="198"/>
                  <a:pt x="432" y="189"/>
                  <a:pt x="437" y="181"/>
                </a:cubicBezTo>
                <a:close/>
                <a:moveTo>
                  <a:pt x="411" y="214"/>
                </a:moveTo>
                <a:cubicBezTo>
                  <a:pt x="416" y="210"/>
                  <a:pt x="420" y="206"/>
                  <a:pt x="424" y="201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4" y="201"/>
                  <a:pt x="424" y="201"/>
                  <a:pt x="424" y="201"/>
                </a:cubicBezTo>
                <a:cubicBezTo>
                  <a:pt x="424" y="202"/>
                  <a:pt x="423" y="203"/>
                  <a:pt x="423" y="204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0" y="206"/>
                  <a:pt x="415" y="210"/>
                  <a:pt x="411" y="214"/>
                </a:cubicBezTo>
                <a:close/>
                <a:moveTo>
                  <a:pt x="273" y="268"/>
                </a:moveTo>
                <a:cubicBezTo>
                  <a:pt x="265" y="269"/>
                  <a:pt x="265" y="269"/>
                  <a:pt x="265" y="269"/>
                </a:cubicBezTo>
                <a:cubicBezTo>
                  <a:pt x="266" y="269"/>
                  <a:pt x="275" y="266"/>
                  <a:pt x="282" y="265"/>
                </a:cubicBezTo>
                <a:cubicBezTo>
                  <a:pt x="272" y="263"/>
                  <a:pt x="279" y="266"/>
                  <a:pt x="263" y="267"/>
                </a:cubicBezTo>
                <a:cubicBezTo>
                  <a:pt x="281" y="264"/>
                  <a:pt x="274" y="263"/>
                  <a:pt x="273" y="262"/>
                </a:cubicBezTo>
                <a:cubicBezTo>
                  <a:pt x="271" y="263"/>
                  <a:pt x="265" y="265"/>
                  <a:pt x="259" y="266"/>
                </a:cubicBezTo>
                <a:cubicBezTo>
                  <a:pt x="254" y="267"/>
                  <a:pt x="250" y="268"/>
                  <a:pt x="254" y="270"/>
                </a:cubicBezTo>
                <a:cubicBezTo>
                  <a:pt x="260" y="269"/>
                  <a:pt x="269" y="271"/>
                  <a:pt x="273" y="268"/>
                </a:cubicBezTo>
                <a:close/>
                <a:moveTo>
                  <a:pt x="160" y="273"/>
                </a:moveTo>
                <a:cubicBezTo>
                  <a:pt x="149" y="273"/>
                  <a:pt x="149" y="273"/>
                  <a:pt x="149" y="273"/>
                </a:cubicBezTo>
                <a:cubicBezTo>
                  <a:pt x="161" y="273"/>
                  <a:pt x="161" y="273"/>
                  <a:pt x="161" y="273"/>
                </a:cubicBezTo>
                <a:lnTo>
                  <a:pt x="160" y="273"/>
                </a:lnTo>
                <a:close/>
                <a:moveTo>
                  <a:pt x="71" y="103"/>
                </a:moveTo>
                <a:cubicBezTo>
                  <a:pt x="70" y="106"/>
                  <a:pt x="58" y="115"/>
                  <a:pt x="58" y="114"/>
                </a:cubicBezTo>
                <a:cubicBezTo>
                  <a:pt x="60" y="113"/>
                  <a:pt x="66" y="107"/>
                  <a:pt x="71" y="103"/>
                </a:cubicBezTo>
                <a:close/>
                <a:moveTo>
                  <a:pt x="162" y="45"/>
                </a:moveTo>
                <a:cubicBezTo>
                  <a:pt x="156" y="47"/>
                  <a:pt x="149" y="53"/>
                  <a:pt x="146" y="52"/>
                </a:cubicBezTo>
                <a:cubicBezTo>
                  <a:pt x="149" y="50"/>
                  <a:pt x="153" y="48"/>
                  <a:pt x="157" y="46"/>
                </a:cubicBezTo>
                <a:cubicBezTo>
                  <a:pt x="159" y="46"/>
                  <a:pt x="163" y="44"/>
                  <a:pt x="162" y="45"/>
                </a:cubicBezTo>
                <a:close/>
                <a:moveTo>
                  <a:pt x="237" y="24"/>
                </a:moveTo>
                <a:cubicBezTo>
                  <a:pt x="240" y="21"/>
                  <a:pt x="240" y="21"/>
                  <a:pt x="240" y="21"/>
                </a:cubicBezTo>
                <a:cubicBezTo>
                  <a:pt x="236" y="22"/>
                  <a:pt x="236" y="22"/>
                  <a:pt x="236" y="22"/>
                </a:cubicBezTo>
                <a:lnTo>
                  <a:pt x="237" y="24"/>
                </a:lnTo>
                <a:close/>
                <a:moveTo>
                  <a:pt x="224" y="29"/>
                </a:moveTo>
                <a:cubicBezTo>
                  <a:pt x="226" y="29"/>
                  <a:pt x="234" y="27"/>
                  <a:pt x="232" y="26"/>
                </a:cubicBezTo>
                <a:lnTo>
                  <a:pt x="224" y="29"/>
                </a:lnTo>
                <a:close/>
                <a:moveTo>
                  <a:pt x="305" y="15"/>
                </a:moveTo>
                <a:cubicBezTo>
                  <a:pt x="300" y="18"/>
                  <a:pt x="300" y="18"/>
                  <a:pt x="300" y="18"/>
                </a:cubicBezTo>
                <a:cubicBezTo>
                  <a:pt x="305" y="17"/>
                  <a:pt x="305" y="17"/>
                  <a:pt x="305" y="17"/>
                </a:cubicBezTo>
                <a:lnTo>
                  <a:pt x="305" y="15"/>
                </a:lnTo>
                <a:close/>
                <a:moveTo>
                  <a:pt x="299" y="14"/>
                </a:moveTo>
                <a:cubicBezTo>
                  <a:pt x="298" y="14"/>
                  <a:pt x="297" y="15"/>
                  <a:pt x="297" y="16"/>
                </a:cubicBezTo>
                <a:cubicBezTo>
                  <a:pt x="294" y="16"/>
                  <a:pt x="289" y="17"/>
                  <a:pt x="285" y="17"/>
                </a:cubicBezTo>
                <a:cubicBezTo>
                  <a:pt x="285" y="16"/>
                  <a:pt x="289" y="16"/>
                  <a:pt x="291" y="16"/>
                </a:cubicBezTo>
                <a:cubicBezTo>
                  <a:pt x="289" y="16"/>
                  <a:pt x="286" y="15"/>
                  <a:pt x="282" y="16"/>
                </a:cubicBezTo>
                <a:cubicBezTo>
                  <a:pt x="287" y="18"/>
                  <a:pt x="284" y="18"/>
                  <a:pt x="284" y="20"/>
                </a:cubicBezTo>
                <a:cubicBezTo>
                  <a:pt x="296" y="19"/>
                  <a:pt x="296" y="17"/>
                  <a:pt x="297" y="16"/>
                </a:cubicBezTo>
                <a:cubicBezTo>
                  <a:pt x="298" y="15"/>
                  <a:pt x="299" y="14"/>
                  <a:pt x="299" y="14"/>
                </a:cubicBezTo>
                <a:close/>
                <a:moveTo>
                  <a:pt x="256" y="19"/>
                </a:moveTo>
                <a:cubicBezTo>
                  <a:pt x="258" y="19"/>
                  <a:pt x="258" y="19"/>
                  <a:pt x="259" y="19"/>
                </a:cubicBezTo>
                <a:cubicBezTo>
                  <a:pt x="266" y="19"/>
                  <a:pt x="274" y="18"/>
                  <a:pt x="266" y="21"/>
                </a:cubicBezTo>
                <a:cubicBezTo>
                  <a:pt x="259" y="22"/>
                  <a:pt x="259" y="22"/>
                  <a:pt x="259" y="22"/>
                </a:cubicBezTo>
                <a:cubicBezTo>
                  <a:pt x="262" y="22"/>
                  <a:pt x="262" y="21"/>
                  <a:pt x="262" y="21"/>
                </a:cubicBezTo>
                <a:cubicBezTo>
                  <a:pt x="257" y="21"/>
                  <a:pt x="254" y="23"/>
                  <a:pt x="250" y="24"/>
                </a:cubicBezTo>
                <a:cubicBezTo>
                  <a:pt x="252" y="23"/>
                  <a:pt x="260" y="21"/>
                  <a:pt x="259" y="19"/>
                </a:cubicBezTo>
                <a:cubicBezTo>
                  <a:pt x="253" y="20"/>
                  <a:pt x="253" y="20"/>
                  <a:pt x="253" y="20"/>
                </a:cubicBezTo>
                <a:cubicBezTo>
                  <a:pt x="251" y="20"/>
                  <a:pt x="250" y="21"/>
                  <a:pt x="248" y="20"/>
                </a:cubicBezTo>
                <a:cubicBezTo>
                  <a:pt x="249" y="20"/>
                  <a:pt x="249" y="20"/>
                  <a:pt x="249" y="20"/>
                </a:cubicBezTo>
                <a:cubicBezTo>
                  <a:pt x="250" y="20"/>
                  <a:pt x="251" y="20"/>
                  <a:pt x="253" y="20"/>
                </a:cubicBezTo>
                <a:cubicBezTo>
                  <a:pt x="254" y="19"/>
                  <a:pt x="255" y="19"/>
                  <a:pt x="256" y="19"/>
                </a:cubicBezTo>
                <a:close/>
                <a:moveTo>
                  <a:pt x="305" y="12"/>
                </a:moveTo>
                <a:cubicBezTo>
                  <a:pt x="306" y="11"/>
                  <a:pt x="305" y="11"/>
                  <a:pt x="307" y="10"/>
                </a:cubicBezTo>
                <a:cubicBezTo>
                  <a:pt x="311" y="10"/>
                  <a:pt x="311" y="10"/>
                  <a:pt x="311" y="10"/>
                </a:cubicBezTo>
                <a:cubicBezTo>
                  <a:pt x="316" y="10"/>
                  <a:pt x="310" y="11"/>
                  <a:pt x="305" y="12"/>
                </a:cubicBezTo>
                <a:close/>
                <a:moveTo>
                  <a:pt x="92" y="83"/>
                </a:moveTo>
                <a:cubicBezTo>
                  <a:pt x="91" y="84"/>
                  <a:pt x="81" y="92"/>
                  <a:pt x="82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3" y="90"/>
                  <a:pt x="87" y="85"/>
                  <a:pt x="85" y="86"/>
                </a:cubicBezTo>
                <a:cubicBezTo>
                  <a:pt x="89" y="84"/>
                  <a:pt x="93" y="81"/>
                  <a:pt x="92" y="83"/>
                </a:cubicBezTo>
                <a:close/>
                <a:moveTo>
                  <a:pt x="142" y="272"/>
                </a:moveTo>
                <a:cubicBezTo>
                  <a:pt x="139" y="272"/>
                  <a:pt x="123" y="269"/>
                  <a:pt x="121" y="272"/>
                </a:cubicBezTo>
                <a:cubicBezTo>
                  <a:pt x="116" y="268"/>
                  <a:pt x="134" y="271"/>
                  <a:pt x="142" y="272"/>
                </a:cubicBezTo>
                <a:close/>
                <a:moveTo>
                  <a:pt x="144" y="275"/>
                </a:moveTo>
                <a:cubicBezTo>
                  <a:pt x="145" y="275"/>
                  <a:pt x="146" y="275"/>
                  <a:pt x="148" y="275"/>
                </a:cubicBezTo>
                <a:cubicBezTo>
                  <a:pt x="152" y="275"/>
                  <a:pt x="152" y="273"/>
                  <a:pt x="160" y="274"/>
                </a:cubicBezTo>
                <a:cubicBezTo>
                  <a:pt x="158" y="275"/>
                  <a:pt x="155" y="274"/>
                  <a:pt x="153" y="274"/>
                </a:cubicBezTo>
                <a:cubicBezTo>
                  <a:pt x="153" y="276"/>
                  <a:pt x="152" y="275"/>
                  <a:pt x="148" y="275"/>
                </a:cubicBezTo>
                <a:cubicBezTo>
                  <a:pt x="146" y="275"/>
                  <a:pt x="145" y="275"/>
                  <a:pt x="144" y="275"/>
                </a:cubicBezTo>
                <a:close/>
                <a:moveTo>
                  <a:pt x="9" y="190"/>
                </a:moveTo>
                <a:cubicBezTo>
                  <a:pt x="9" y="193"/>
                  <a:pt x="9" y="196"/>
                  <a:pt x="9" y="199"/>
                </a:cubicBezTo>
                <a:cubicBezTo>
                  <a:pt x="9" y="201"/>
                  <a:pt x="10" y="203"/>
                  <a:pt x="11" y="205"/>
                </a:cubicBezTo>
                <a:cubicBezTo>
                  <a:pt x="10" y="200"/>
                  <a:pt x="9" y="195"/>
                  <a:pt x="9" y="190"/>
                </a:cubicBezTo>
                <a:close/>
                <a:moveTo>
                  <a:pt x="48" y="114"/>
                </a:moveTo>
                <a:cubicBezTo>
                  <a:pt x="46" y="116"/>
                  <a:pt x="45" y="117"/>
                  <a:pt x="43" y="119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18"/>
                  <a:pt x="47" y="117"/>
                  <a:pt x="46" y="119"/>
                </a:cubicBezTo>
                <a:cubicBezTo>
                  <a:pt x="45" y="120"/>
                  <a:pt x="44" y="121"/>
                  <a:pt x="44" y="122"/>
                </a:cubicBezTo>
                <a:cubicBezTo>
                  <a:pt x="45" y="121"/>
                  <a:pt x="46" y="120"/>
                  <a:pt x="46" y="119"/>
                </a:cubicBezTo>
                <a:cubicBezTo>
                  <a:pt x="49" y="115"/>
                  <a:pt x="54" y="110"/>
                  <a:pt x="54" y="109"/>
                </a:cubicBezTo>
                <a:cubicBezTo>
                  <a:pt x="52" y="111"/>
                  <a:pt x="46" y="118"/>
                  <a:pt x="45" y="117"/>
                </a:cubicBezTo>
                <a:lnTo>
                  <a:pt x="48" y="114"/>
                </a:lnTo>
                <a:close/>
                <a:moveTo>
                  <a:pt x="196" y="24"/>
                </a:moveTo>
                <a:cubicBezTo>
                  <a:pt x="192" y="25"/>
                  <a:pt x="191" y="26"/>
                  <a:pt x="185" y="26"/>
                </a:cubicBezTo>
                <a:cubicBezTo>
                  <a:pt x="189" y="25"/>
                  <a:pt x="194" y="23"/>
                  <a:pt x="196" y="24"/>
                </a:cubicBezTo>
                <a:close/>
                <a:moveTo>
                  <a:pt x="20" y="148"/>
                </a:moveTo>
                <a:cubicBezTo>
                  <a:pt x="21" y="149"/>
                  <a:pt x="16" y="157"/>
                  <a:pt x="19" y="155"/>
                </a:cubicBezTo>
                <a:cubicBezTo>
                  <a:pt x="21" y="151"/>
                  <a:pt x="21" y="151"/>
                  <a:pt x="21" y="151"/>
                </a:cubicBezTo>
                <a:cubicBezTo>
                  <a:pt x="18" y="157"/>
                  <a:pt x="21" y="156"/>
                  <a:pt x="16" y="163"/>
                </a:cubicBezTo>
                <a:cubicBezTo>
                  <a:pt x="17" y="162"/>
                  <a:pt x="18" y="160"/>
                  <a:pt x="19" y="158"/>
                </a:cubicBezTo>
                <a:cubicBezTo>
                  <a:pt x="15" y="164"/>
                  <a:pt x="21" y="150"/>
                  <a:pt x="15" y="159"/>
                </a:cubicBezTo>
                <a:cubicBezTo>
                  <a:pt x="13" y="163"/>
                  <a:pt x="17" y="152"/>
                  <a:pt x="20" y="148"/>
                </a:cubicBezTo>
                <a:close/>
                <a:moveTo>
                  <a:pt x="208" y="17"/>
                </a:moveTo>
                <a:cubicBezTo>
                  <a:pt x="202" y="19"/>
                  <a:pt x="204" y="21"/>
                  <a:pt x="194" y="23"/>
                </a:cubicBezTo>
                <a:cubicBezTo>
                  <a:pt x="201" y="20"/>
                  <a:pt x="199" y="18"/>
                  <a:pt x="208" y="17"/>
                </a:cubicBezTo>
                <a:close/>
                <a:moveTo>
                  <a:pt x="57" y="96"/>
                </a:moveTo>
                <a:cubicBezTo>
                  <a:pt x="56" y="97"/>
                  <a:pt x="56" y="97"/>
                  <a:pt x="56" y="97"/>
                </a:cubicBezTo>
                <a:cubicBezTo>
                  <a:pt x="50" y="103"/>
                  <a:pt x="50" y="103"/>
                  <a:pt x="50" y="103"/>
                </a:cubicBezTo>
                <a:cubicBezTo>
                  <a:pt x="51" y="103"/>
                  <a:pt x="51" y="103"/>
                  <a:pt x="51" y="103"/>
                </a:cubicBezTo>
                <a:lnTo>
                  <a:pt x="57" y="96"/>
                </a:lnTo>
                <a:close/>
                <a:moveTo>
                  <a:pt x="210" y="33"/>
                </a:moveTo>
                <a:cubicBezTo>
                  <a:pt x="212" y="33"/>
                  <a:pt x="214" y="32"/>
                  <a:pt x="215" y="32"/>
                </a:cubicBezTo>
                <a:cubicBezTo>
                  <a:pt x="213" y="32"/>
                  <a:pt x="212" y="32"/>
                  <a:pt x="210" y="33"/>
                </a:cubicBezTo>
                <a:close/>
                <a:moveTo>
                  <a:pt x="172" y="266"/>
                </a:moveTo>
                <a:cubicBezTo>
                  <a:pt x="173" y="267"/>
                  <a:pt x="173" y="267"/>
                  <a:pt x="175" y="267"/>
                </a:cubicBezTo>
                <a:cubicBezTo>
                  <a:pt x="174" y="267"/>
                  <a:pt x="174" y="267"/>
                  <a:pt x="172" y="266"/>
                </a:cubicBezTo>
                <a:close/>
                <a:moveTo>
                  <a:pt x="192" y="266"/>
                </a:moveTo>
                <a:cubicBezTo>
                  <a:pt x="192" y="266"/>
                  <a:pt x="192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lnTo>
                  <a:pt x="192" y="266"/>
                </a:lnTo>
                <a:close/>
                <a:moveTo>
                  <a:pt x="142" y="15"/>
                </a:moveTo>
                <a:cubicBezTo>
                  <a:pt x="139" y="18"/>
                  <a:pt x="146" y="15"/>
                  <a:pt x="150" y="14"/>
                </a:cubicBezTo>
                <a:cubicBezTo>
                  <a:pt x="146" y="15"/>
                  <a:pt x="145" y="14"/>
                  <a:pt x="142" y="15"/>
                </a:cubicBezTo>
                <a:close/>
                <a:moveTo>
                  <a:pt x="168" y="9"/>
                </a:moveTo>
                <a:cubicBezTo>
                  <a:pt x="166" y="10"/>
                  <a:pt x="163" y="10"/>
                  <a:pt x="160" y="11"/>
                </a:cubicBezTo>
                <a:cubicBezTo>
                  <a:pt x="162" y="11"/>
                  <a:pt x="165" y="10"/>
                  <a:pt x="168" y="9"/>
                </a:cubicBezTo>
                <a:close/>
                <a:moveTo>
                  <a:pt x="147" y="12"/>
                </a:moveTo>
                <a:cubicBezTo>
                  <a:pt x="152" y="12"/>
                  <a:pt x="156" y="11"/>
                  <a:pt x="160" y="11"/>
                </a:cubicBezTo>
                <a:cubicBezTo>
                  <a:pt x="157" y="11"/>
                  <a:pt x="154" y="11"/>
                  <a:pt x="147" y="12"/>
                </a:cubicBezTo>
                <a:close/>
                <a:moveTo>
                  <a:pt x="239" y="8"/>
                </a:moveTo>
                <a:cubicBezTo>
                  <a:pt x="235" y="9"/>
                  <a:pt x="227" y="8"/>
                  <a:pt x="227" y="8"/>
                </a:cubicBezTo>
                <a:cubicBezTo>
                  <a:pt x="244" y="10"/>
                  <a:pt x="223" y="10"/>
                  <a:pt x="222" y="11"/>
                </a:cubicBezTo>
                <a:cubicBezTo>
                  <a:pt x="233" y="11"/>
                  <a:pt x="233" y="9"/>
                  <a:pt x="239" y="8"/>
                </a:cubicBezTo>
                <a:close/>
                <a:moveTo>
                  <a:pt x="262" y="10"/>
                </a:moveTo>
                <a:cubicBezTo>
                  <a:pt x="260" y="10"/>
                  <a:pt x="259" y="9"/>
                  <a:pt x="257" y="9"/>
                </a:cubicBezTo>
                <a:cubicBezTo>
                  <a:pt x="259" y="9"/>
                  <a:pt x="261" y="10"/>
                  <a:pt x="262" y="10"/>
                </a:cubicBezTo>
                <a:close/>
                <a:moveTo>
                  <a:pt x="268" y="12"/>
                </a:moveTo>
                <a:cubicBezTo>
                  <a:pt x="274" y="12"/>
                  <a:pt x="277" y="12"/>
                  <a:pt x="280" y="11"/>
                </a:cubicBezTo>
                <a:cubicBezTo>
                  <a:pt x="272" y="9"/>
                  <a:pt x="268" y="10"/>
                  <a:pt x="262" y="10"/>
                </a:cubicBezTo>
                <a:cubicBezTo>
                  <a:pt x="266" y="10"/>
                  <a:pt x="271" y="11"/>
                  <a:pt x="268" y="12"/>
                </a:cubicBezTo>
                <a:close/>
                <a:moveTo>
                  <a:pt x="422" y="101"/>
                </a:moveTo>
                <a:cubicBezTo>
                  <a:pt x="421" y="100"/>
                  <a:pt x="420" y="97"/>
                  <a:pt x="419" y="98"/>
                </a:cubicBezTo>
                <a:cubicBezTo>
                  <a:pt x="421" y="100"/>
                  <a:pt x="423" y="103"/>
                  <a:pt x="425" y="105"/>
                </a:cubicBezTo>
                <a:cubicBezTo>
                  <a:pt x="427" y="108"/>
                  <a:pt x="423" y="102"/>
                  <a:pt x="422" y="101"/>
                </a:cubicBezTo>
                <a:close/>
                <a:moveTo>
                  <a:pt x="442" y="130"/>
                </a:moveTo>
                <a:cubicBezTo>
                  <a:pt x="444" y="137"/>
                  <a:pt x="441" y="134"/>
                  <a:pt x="443" y="138"/>
                </a:cubicBezTo>
                <a:cubicBezTo>
                  <a:pt x="445" y="137"/>
                  <a:pt x="445" y="137"/>
                  <a:pt x="445" y="137"/>
                </a:cubicBezTo>
                <a:cubicBezTo>
                  <a:pt x="444" y="134"/>
                  <a:pt x="443" y="132"/>
                  <a:pt x="442" y="130"/>
                </a:cubicBezTo>
                <a:close/>
                <a:moveTo>
                  <a:pt x="452" y="122"/>
                </a:moveTo>
                <a:cubicBezTo>
                  <a:pt x="450" y="120"/>
                  <a:pt x="450" y="120"/>
                  <a:pt x="450" y="120"/>
                </a:cubicBezTo>
                <a:cubicBezTo>
                  <a:pt x="452" y="122"/>
                  <a:pt x="452" y="122"/>
                  <a:pt x="452" y="122"/>
                </a:cubicBezTo>
                <a:close/>
                <a:moveTo>
                  <a:pt x="441" y="165"/>
                </a:moveTo>
                <a:cubicBezTo>
                  <a:pt x="440" y="163"/>
                  <a:pt x="440" y="162"/>
                  <a:pt x="439" y="160"/>
                </a:cubicBezTo>
                <a:cubicBezTo>
                  <a:pt x="439" y="166"/>
                  <a:pt x="440" y="166"/>
                  <a:pt x="441" y="165"/>
                </a:cubicBezTo>
                <a:close/>
                <a:moveTo>
                  <a:pt x="426" y="189"/>
                </a:moveTo>
                <a:cubicBezTo>
                  <a:pt x="427" y="188"/>
                  <a:pt x="427" y="187"/>
                  <a:pt x="428" y="185"/>
                </a:cubicBezTo>
                <a:cubicBezTo>
                  <a:pt x="426" y="189"/>
                  <a:pt x="423" y="193"/>
                  <a:pt x="420" y="196"/>
                </a:cubicBezTo>
                <a:cubicBezTo>
                  <a:pt x="422" y="194"/>
                  <a:pt x="424" y="192"/>
                  <a:pt x="426" y="189"/>
                </a:cubicBezTo>
                <a:close/>
                <a:moveTo>
                  <a:pt x="402" y="214"/>
                </a:moveTo>
                <a:cubicBezTo>
                  <a:pt x="400" y="214"/>
                  <a:pt x="400" y="214"/>
                  <a:pt x="400" y="214"/>
                </a:cubicBezTo>
                <a:cubicBezTo>
                  <a:pt x="398" y="216"/>
                  <a:pt x="395" y="218"/>
                  <a:pt x="393" y="220"/>
                </a:cubicBezTo>
                <a:cubicBezTo>
                  <a:pt x="396" y="218"/>
                  <a:pt x="399" y="216"/>
                  <a:pt x="402" y="214"/>
                </a:cubicBezTo>
                <a:close/>
                <a:moveTo>
                  <a:pt x="26" y="228"/>
                </a:moveTo>
                <a:cubicBezTo>
                  <a:pt x="25" y="228"/>
                  <a:pt x="26" y="231"/>
                  <a:pt x="29" y="234"/>
                </a:cubicBezTo>
                <a:cubicBezTo>
                  <a:pt x="32" y="237"/>
                  <a:pt x="36" y="240"/>
                  <a:pt x="37" y="242"/>
                </a:cubicBezTo>
                <a:cubicBezTo>
                  <a:pt x="37" y="240"/>
                  <a:pt x="34" y="238"/>
                  <a:pt x="32" y="236"/>
                </a:cubicBezTo>
                <a:cubicBezTo>
                  <a:pt x="29" y="234"/>
                  <a:pt x="26" y="231"/>
                  <a:pt x="26" y="228"/>
                </a:cubicBezTo>
                <a:close/>
                <a:moveTo>
                  <a:pt x="196" y="36"/>
                </a:moveTo>
                <a:cubicBezTo>
                  <a:pt x="191" y="38"/>
                  <a:pt x="187" y="39"/>
                  <a:pt x="182" y="41"/>
                </a:cubicBezTo>
                <a:cubicBezTo>
                  <a:pt x="193" y="38"/>
                  <a:pt x="185" y="40"/>
                  <a:pt x="196" y="36"/>
                </a:cubicBezTo>
                <a:close/>
              </a:path>
            </a:pathLst>
          </a:custGeom>
          <a:solidFill>
            <a:srgbClr val="FEA30D"/>
          </a:solidFill>
          <a:ln>
            <a:solidFill>
              <a:srgbClr val="FEA30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514">
            <a:extLst>
              <a:ext uri="{FF2B5EF4-FFF2-40B4-BE49-F238E27FC236}">
                <a16:creationId xmlns:a16="http://schemas.microsoft.com/office/drawing/2014/main" id="{9A86C621-4C6E-7CBE-077D-DF248E9642CF}"/>
              </a:ext>
            </a:extLst>
          </p:cNvPr>
          <p:cNvSpPr>
            <a:spLocks noEditPoints="1"/>
          </p:cNvSpPr>
          <p:nvPr/>
        </p:nvSpPr>
        <p:spPr bwMode="auto">
          <a:xfrm>
            <a:off x="5634903" y="3429000"/>
            <a:ext cx="922193" cy="547363"/>
          </a:xfrm>
          <a:custGeom>
            <a:avLst/>
            <a:gdLst>
              <a:gd name="T0" fmla="*/ 124 w 458"/>
              <a:gd name="T1" fmla="*/ 13 h 288"/>
              <a:gd name="T2" fmla="*/ 343 w 458"/>
              <a:gd name="T3" fmla="*/ 240 h 288"/>
              <a:gd name="T4" fmla="*/ 292 w 458"/>
              <a:gd name="T5" fmla="*/ 271 h 288"/>
              <a:gd name="T6" fmla="*/ 291 w 458"/>
              <a:gd name="T7" fmla="*/ 260 h 288"/>
              <a:gd name="T8" fmla="*/ 141 w 458"/>
              <a:gd name="T9" fmla="*/ 12 h 288"/>
              <a:gd name="T10" fmla="*/ 85 w 458"/>
              <a:gd name="T11" fmla="*/ 70 h 288"/>
              <a:gd name="T12" fmla="*/ 6 w 458"/>
              <a:gd name="T13" fmla="*/ 224 h 288"/>
              <a:gd name="T14" fmla="*/ 71 w 458"/>
              <a:gd name="T15" fmla="*/ 273 h 288"/>
              <a:gd name="T16" fmla="*/ 191 w 458"/>
              <a:gd name="T17" fmla="*/ 286 h 288"/>
              <a:gd name="T18" fmla="*/ 292 w 458"/>
              <a:gd name="T19" fmla="*/ 271 h 288"/>
              <a:gd name="T20" fmla="*/ 415 w 458"/>
              <a:gd name="T21" fmla="*/ 222 h 288"/>
              <a:gd name="T22" fmla="*/ 450 w 458"/>
              <a:gd name="T23" fmla="*/ 120 h 288"/>
              <a:gd name="T24" fmla="*/ 307 w 458"/>
              <a:gd name="T25" fmla="*/ 12 h 288"/>
              <a:gd name="T26" fmla="*/ 145 w 458"/>
              <a:gd name="T27" fmla="*/ 7 h 288"/>
              <a:gd name="T28" fmla="*/ 141 w 458"/>
              <a:gd name="T29" fmla="*/ 11 h 288"/>
              <a:gd name="T30" fmla="*/ 134 w 458"/>
              <a:gd name="T31" fmla="*/ 13 h 288"/>
              <a:gd name="T32" fmla="*/ 223 w 458"/>
              <a:gd name="T33" fmla="*/ 2 h 288"/>
              <a:gd name="T34" fmla="*/ 349 w 458"/>
              <a:gd name="T35" fmla="*/ 36 h 288"/>
              <a:gd name="T36" fmla="*/ 424 w 458"/>
              <a:gd name="T37" fmla="*/ 98 h 288"/>
              <a:gd name="T38" fmla="*/ 430 w 458"/>
              <a:gd name="T39" fmla="*/ 104 h 288"/>
              <a:gd name="T40" fmla="*/ 436 w 458"/>
              <a:gd name="T41" fmla="*/ 174 h 288"/>
              <a:gd name="T42" fmla="*/ 394 w 458"/>
              <a:gd name="T43" fmla="*/ 220 h 288"/>
              <a:gd name="T44" fmla="*/ 306 w 458"/>
              <a:gd name="T45" fmla="*/ 254 h 288"/>
              <a:gd name="T46" fmla="*/ 257 w 458"/>
              <a:gd name="T47" fmla="*/ 260 h 288"/>
              <a:gd name="T48" fmla="*/ 192 w 458"/>
              <a:gd name="T49" fmla="*/ 266 h 288"/>
              <a:gd name="T50" fmla="*/ 94 w 458"/>
              <a:gd name="T51" fmla="*/ 259 h 288"/>
              <a:gd name="T52" fmla="*/ 17 w 458"/>
              <a:gd name="T53" fmla="*/ 215 h 288"/>
              <a:gd name="T54" fmla="*/ 46 w 458"/>
              <a:gd name="T55" fmla="*/ 132 h 288"/>
              <a:gd name="T56" fmla="*/ 111 w 458"/>
              <a:gd name="T57" fmla="*/ 77 h 288"/>
              <a:gd name="T58" fmla="*/ 203 w 458"/>
              <a:gd name="T59" fmla="*/ 34 h 288"/>
              <a:gd name="T60" fmla="*/ 294 w 458"/>
              <a:gd name="T61" fmla="*/ 22 h 288"/>
              <a:gd name="T62" fmla="*/ 382 w 458"/>
              <a:gd name="T63" fmla="*/ 18 h 288"/>
              <a:gd name="T64" fmla="*/ 345 w 458"/>
              <a:gd name="T65" fmla="*/ 5 h 288"/>
              <a:gd name="T66" fmla="*/ 219 w 458"/>
              <a:gd name="T67" fmla="*/ 14 h 288"/>
              <a:gd name="T68" fmla="*/ 134 w 458"/>
              <a:gd name="T69" fmla="*/ 42 h 288"/>
              <a:gd name="T70" fmla="*/ 345 w 458"/>
              <a:gd name="T71" fmla="*/ 25 h 288"/>
              <a:gd name="T72" fmla="*/ 61 w 458"/>
              <a:gd name="T73" fmla="*/ 253 h 288"/>
              <a:gd name="T74" fmla="*/ 107 w 458"/>
              <a:gd name="T75" fmla="*/ 277 h 288"/>
              <a:gd name="T76" fmla="*/ 338 w 458"/>
              <a:gd name="T77" fmla="*/ 257 h 288"/>
              <a:gd name="T78" fmla="*/ 415 w 458"/>
              <a:gd name="T79" fmla="*/ 215 h 288"/>
              <a:gd name="T80" fmla="*/ 373 w 458"/>
              <a:gd name="T81" fmla="*/ 243 h 288"/>
              <a:gd name="T82" fmla="*/ 398 w 458"/>
              <a:gd name="T83" fmla="*/ 232 h 288"/>
              <a:gd name="T84" fmla="*/ 249 w 458"/>
              <a:gd name="T85" fmla="*/ 6 h 288"/>
              <a:gd name="T86" fmla="*/ 402 w 458"/>
              <a:gd name="T87" fmla="*/ 65 h 288"/>
              <a:gd name="T88" fmla="*/ 437 w 458"/>
              <a:gd name="T89" fmla="*/ 188 h 288"/>
              <a:gd name="T90" fmla="*/ 424 w 458"/>
              <a:gd name="T91" fmla="*/ 202 h 288"/>
              <a:gd name="T92" fmla="*/ 259 w 458"/>
              <a:gd name="T93" fmla="*/ 266 h 288"/>
              <a:gd name="T94" fmla="*/ 162 w 458"/>
              <a:gd name="T95" fmla="*/ 45 h 288"/>
              <a:gd name="T96" fmla="*/ 224 w 458"/>
              <a:gd name="T97" fmla="*/ 29 h 288"/>
              <a:gd name="T98" fmla="*/ 284 w 458"/>
              <a:gd name="T99" fmla="*/ 20 h 288"/>
              <a:gd name="T100" fmla="*/ 253 w 458"/>
              <a:gd name="T101" fmla="*/ 20 h 288"/>
              <a:gd name="T102" fmla="*/ 82 w 458"/>
              <a:gd name="T103" fmla="*/ 93 h 288"/>
              <a:gd name="T104" fmla="*/ 153 w 458"/>
              <a:gd name="T105" fmla="*/ 274 h 288"/>
              <a:gd name="T106" fmla="*/ 46 w 458"/>
              <a:gd name="T107" fmla="*/ 119 h 288"/>
              <a:gd name="T108" fmla="*/ 19 w 458"/>
              <a:gd name="T109" fmla="*/ 155 h 288"/>
              <a:gd name="T110" fmla="*/ 56 w 458"/>
              <a:gd name="T111" fmla="*/ 97 h 288"/>
              <a:gd name="T112" fmla="*/ 192 w 458"/>
              <a:gd name="T113" fmla="*/ 266 h 288"/>
              <a:gd name="T114" fmla="*/ 147 w 458"/>
              <a:gd name="T115" fmla="*/ 12 h 288"/>
              <a:gd name="T116" fmla="*/ 268 w 458"/>
              <a:gd name="T117" fmla="*/ 12 h 288"/>
              <a:gd name="T118" fmla="*/ 445 w 458"/>
              <a:gd name="T119" fmla="*/ 137 h 288"/>
              <a:gd name="T120" fmla="*/ 420 w 458"/>
              <a:gd name="T121" fmla="*/ 196 h 288"/>
              <a:gd name="T122" fmla="*/ 26 w 458"/>
              <a:gd name="T123" fmla="*/ 22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8" h="288">
                <a:moveTo>
                  <a:pt x="125" y="15"/>
                </a:moveTo>
                <a:cubicBezTo>
                  <a:pt x="125" y="15"/>
                  <a:pt x="125" y="15"/>
                  <a:pt x="125" y="15"/>
                </a:cubicBezTo>
                <a:cubicBezTo>
                  <a:pt x="125" y="15"/>
                  <a:pt x="125" y="15"/>
                  <a:pt x="125" y="15"/>
                </a:cubicBezTo>
                <a:close/>
                <a:moveTo>
                  <a:pt x="122" y="17"/>
                </a:moveTo>
                <a:cubicBezTo>
                  <a:pt x="123" y="17"/>
                  <a:pt x="124" y="16"/>
                  <a:pt x="125" y="15"/>
                </a:cubicBezTo>
                <a:cubicBezTo>
                  <a:pt x="124" y="15"/>
                  <a:pt x="122" y="14"/>
                  <a:pt x="122" y="17"/>
                </a:cubicBezTo>
                <a:close/>
                <a:moveTo>
                  <a:pt x="124" y="11"/>
                </a:moveTo>
                <a:cubicBezTo>
                  <a:pt x="123" y="12"/>
                  <a:pt x="123" y="12"/>
                  <a:pt x="123" y="12"/>
                </a:cubicBezTo>
                <a:cubicBezTo>
                  <a:pt x="124" y="12"/>
                  <a:pt x="124" y="11"/>
                  <a:pt x="124" y="11"/>
                </a:cubicBezTo>
                <a:close/>
                <a:moveTo>
                  <a:pt x="124" y="13"/>
                </a:moveTo>
                <a:cubicBezTo>
                  <a:pt x="125" y="14"/>
                  <a:pt x="125" y="14"/>
                  <a:pt x="125" y="14"/>
                </a:cubicBezTo>
                <a:cubicBezTo>
                  <a:pt x="125" y="13"/>
                  <a:pt x="125" y="13"/>
                  <a:pt x="125" y="13"/>
                </a:cubicBezTo>
                <a:lnTo>
                  <a:pt x="124" y="13"/>
                </a:lnTo>
                <a:close/>
                <a:moveTo>
                  <a:pt x="321" y="247"/>
                </a:moveTo>
                <a:cubicBezTo>
                  <a:pt x="322" y="246"/>
                  <a:pt x="322" y="246"/>
                  <a:pt x="321" y="245"/>
                </a:cubicBezTo>
                <a:lnTo>
                  <a:pt x="321" y="247"/>
                </a:lnTo>
                <a:close/>
                <a:moveTo>
                  <a:pt x="296" y="258"/>
                </a:moveTo>
                <a:cubicBezTo>
                  <a:pt x="294" y="259"/>
                  <a:pt x="293" y="259"/>
                  <a:pt x="291" y="260"/>
                </a:cubicBezTo>
                <a:cubicBezTo>
                  <a:pt x="293" y="259"/>
                  <a:pt x="294" y="259"/>
                  <a:pt x="296" y="258"/>
                </a:cubicBezTo>
                <a:close/>
                <a:moveTo>
                  <a:pt x="343" y="240"/>
                </a:moveTo>
                <a:cubicBezTo>
                  <a:pt x="339" y="241"/>
                  <a:pt x="339" y="241"/>
                  <a:pt x="339" y="241"/>
                </a:cubicBezTo>
                <a:cubicBezTo>
                  <a:pt x="340" y="241"/>
                  <a:pt x="342" y="240"/>
                  <a:pt x="343" y="240"/>
                </a:cubicBezTo>
                <a:close/>
                <a:moveTo>
                  <a:pt x="362" y="45"/>
                </a:moveTo>
                <a:cubicBezTo>
                  <a:pt x="358" y="43"/>
                  <a:pt x="354" y="42"/>
                  <a:pt x="351" y="41"/>
                </a:cubicBezTo>
                <a:cubicBezTo>
                  <a:pt x="358" y="45"/>
                  <a:pt x="360" y="44"/>
                  <a:pt x="362" y="45"/>
                </a:cubicBezTo>
                <a:close/>
                <a:moveTo>
                  <a:pt x="176" y="284"/>
                </a:moveTo>
                <a:cubicBezTo>
                  <a:pt x="175" y="284"/>
                  <a:pt x="175" y="284"/>
                  <a:pt x="175" y="284"/>
                </a:cubicBezTo>
                <a:cubicBezTo>
                  <a:pt x="173" y="284"/>
                  <a:pt x="173" y="284"/>
                  <a:pt x="176" y="284"/>
                </a:cubicBezTo>
                <a:close/>
                <a:moveTo>
                  <a:pt x="293" y="272"/>
                </a:moveTo>
                <a:cubicBezTo>
                  <a:pt x="293" y="272"/>
                  <a:pt x="293" y="271"/>
                  <a:pt x="292" y="271"/>
                </a:cubicBezTo>
                <a:cubicBezTo>
                  <a:pt x="291" y="272"/>
                  <a:pt x="291" y="272"/>
                  <a:pt x="291" y="272"/>
                </a:cubicBezTo>
                <a:lnTo>
                  <a:pt x="293" y="272"/>
                </a:lnTo>
                <a:close/>
                <a:moveTo>
                  <a:pt x="361" y="235"/>
                </a:moveTo>
                <a:cubicBezTo>
                  <a:pt x="361" y="235"/>
                  <a:pt x="361" y="234"/>
                  <a:pt x="361" y="234"/>
                </a:cubicBezTo>
                <a:cubicBezTo>
                  <a:pt x="365" y="233"/>
                  <a:pt x="365" y="233"/>
                  <a:pt x="365" y="233"/>
                </a:cubicBezTo>
                <a:cubicBezTo>
                  <a:pt x="363" y="233"/>
                  <a:pt x="362" y="234"/>
                  <a:pt x="361" y="235"/>
                </a:cubicBezTo>
                <a:close/>
                <a:moveTo>
                  <a:pt x="138" y="283"/>
                </a:moveTo>
                <a:cubicBezTo>
                  <a:pt x="136" y="284"/>
                  <a:pt x="135" y="284"/>
                  <a:pt x="133" y="285"/>
                </a:cubicBezTo>
                <a:cubicBezTo>
                  <a:pt x="137" y="285"/>
                  <a:pt x="139" y="284"/>
                  <a:pt x="138" y="283"/>
                </a:cubicBezTo>
                <a:close/>
                <a:moveTo>
                  <a:pt x="291" y="260"/>
                </a:moveTo>
                <a:cubicBezTo>
                  <a:pt x="291" y="260"/>
                  <a:pt x="291" y="260"/>
                  <a:pt x="291" y="260"/>
                </a:cubicBezTo>
                <a:cubicBezTo>
                  <a:pt x="291" y="260"/>
                  <a:pt x="291" y="260"/>
                  <a:pt x="291" y="260"/>
                </a:cubicBezTo>
                <a:close/>
                <a:moveTo>
                  <a:pt x="331" y="261"/>
                </a:moveTo>
                <a:cubicBezTo>
                  <a:pt x="325" y="263"/>
                  <a:pt x="325" y="263"/>
                  <a:pt x="325" y="263"/>
                </a:cubicBezTo>
                <a:cubicBezTo>
                  <a:pt x="327" y="262"/>
                  <a:pt x="330" y="262"/>
                  <a:pt x="331" y="261"/>
                </a:cubicBezTo>
                <a:close/>
                <a:moveTo>
                  <a:pt x="362" y="45"/>
                </a:moveTo>
                <a:cubicBezTo>
                  <a:pt x="366" y="46"/>
                  <a:pt x="366" y="46"/>
                  <a:pt x="366" y="46"/>
                </a:cubicBezTo>
                <a:cubicBezTo>
                  <a:pt x="364" y="45"/>
                  <a:pt x="363" y="45"/>
                  <a:pt x="362" y="45"/>
                </a:cubicBezTo>
                <a:close/>
                <a:moveTo>
                  <a:pt x="136" y="14"/>
                </a:moveTo>
                <a:cubicBezTo>
                  <a:pt x="140" y="14"/>
                  <a:pt x="141" y="13"/>
                  <a:pt x="141" y="12"/>
                </a:cubicBezTo>
                <a:cubicBezTo>
                  <a:pt x="139" y="13"/>
                  <a:pt x="138" y="14"/>
                  <a:pt x="136" y="14"/>
                </a:cubicBezTo>
                <a:close/>
                <a:moveTo>
                  <a:pt x="373" y="14"/>
                </a:moveTo>
                <a:cubicBezTo>
                  <a:pt x="375" y="14"/>
                  <a:pt x="375" y="14"/>
                  <a:pt x="375" y="14"/>
                </a:cubicBezTo>
                <a:cubicBezTo>
                  <a:pt x="374" y="14"/>
                  <a:pt x="374" y="14"/>
                  <a:pt x="373" y="14"/>
                </a:cubicBezTo>
                <a:close/>
                <a:moveTo>
                  <a:pt x="234" y="28"/>
                </a:moveTo>
                <a:cubicBezTo>
                  <a:pt x="233" y="29"/>
                  <a:pt x="232" y="29"/>
                  <a:pt x="232" y="29"/>
                </a:cubicBezTo>
                <a:cubicBezTo>
                  <a:pt x="233" y="29"/>
                  <a:pt x="234" y="29"/>
                  <a:pt x="234" y="28"/>
                </a:cubicBezTo>
                <a:close/>
                <a:moveTo>
                  <a:pt x="109" y="53"/>
                </a:moveTo>
                <a:cubicBezTo>
                  <a:pt x="103" y="58"/>
                  <a:pt x="96" y="64"/>
                  <a:pt x="90" y="69"/>
                </a:cubicBezTo>
                <a:cubicBezTo>
                  <a:pt x="88" y="69"/>
                  <a:pt x="79" y="75"/>
                  <a:pt x="85" y="70"/>
                </a:cubicBezTo>
                <a:cubicBezTo>
                  <a:pt x="83" y="72"/>
                  <a:pt x="80" y="75"/>
                  <a:pt x="78" y="77"/>
                </a:cubicBezTo>
                <a:cubicBezTo>
                  <a:pt x="78" y="76"/>
                  <a:pt x="78" y="76"/>
                  <a:pt x="78" y="76"/>
                </a:cubicBezTo>
                <a:cubicBezTo>
                  <a:pt x="62" y="87"/>
                  <a:pt x="49" y="101"/>
                  <a:pt x="38" y="116"/>
                </a:cubicBezTo>
                <a:cubicBezTo>
                  <a:pt x="27" y="131"/>
                  <a:pt x="17" y="147"/>
                  <a:pt x="7" y="166"/>
                </a:cubicBezTo>
                <a:cubicBezTo>
                  <a:pt x="7" y="165"/>
                  <a:pt x="7" y="165"/>
                  <a:pt x="7" y="165"/>
                </a:cubicBezTo>
                <a:cubicBezTo>
                  <a:pt x="5" y="173"/>
                  <a:pt x="3" y="182"/>
                  <a:pt x="3" y="190"/>
                </a:cubicBezTo>
                <a:cubicBezTo>
                  <a:pt x="3" y="195"/>
                  <a:pt x="0" y="196"/>
                  <a:pt x="0" y="204"/>
                </a:cubicBezTo>
                <a:cubicBezTo>
                  <a:pt x="1" y="202"/>
                  <a:pt x="1" y="206"/>
                  <a:pt x="2" y="211"/>
                </a:cubicBezTo>
                <a:cubicBezTo>
                  <a:pt x="2" y="213"/>
                  <a:pt x="3" y="216"/>
                  <a:pt x="3" y="218"/>
                </a:cubicBezTo>
                <a:cubicBezTo>
                  <a:pt x="4" y="220"/>
                  <a:pt x="5" y="223"/>
                  <a:pt x="6" y="224"/>
                </a:cubicBezTo>
                <a:cubicBezTo>
                  <a:pt x="7" y="230"/>
                  <a:pt x="4" y="224"/>
                  <a:pt x="3" y="222"/>
                </a:cubicBezTo>
                <a:cubicBezTo>
                  <a:pt x="5" y="229"/>
                  <a:pt x="8" y="235"/>
                  <a:pt x="12" y="240"/>
                </a:cubicBezTo>
                <a:cubicBezTo>
                  <a:pt x="16" y="246"/>
                  <a:pt x="20" y="250"/>
                  <a:pt x="25" y="253"/>
                </a:cubicBezTo>
                <a:cubicBezTo>
                  <a:pt x="34" y="260"/>
                  <a:pt x="45" y="265"/>
                  <a:pt x="57" y="270"/>
                </a:cubicBezTo>
                <a:cubicBezTo>
                  <a:pt x="45" y="264"/>
                  <a:pt x="40" y="260"/>
                  <a:pt x="35" y="257"/>
                </a:cubicBezTo>
                <a:cubicBezTo>
                  <a:pt x="31" y="254"/>
                  <a:pt x="27" y="252"/>
                  <a:pt x="20" y="244"/>
                </a:cubicBezTo>
                <a:cubicBezTo>
                  <a:pt x="29" y="252"/>
                  <a:pt x="34" y="255"/>
                  <a:pt x="39" y="258"/>
                </a:cubicBezTo>
                <a:cubicBezTo>
                  <a:pt x="45" y="262"/>
                  <a:pt x="50" y="265"/>
                  <a:pt x="60" y="268"/>
                </a:cubicBezTo>
                <a:cubicBezTo>
                  <a:pt x="57" y="267"/>
                  <a:pt x="54" y="267"/>
                  <a:pt x="51" y="265"/>
                </a:cubicBezTo>
                <a:cubicBezTo>
                  <a:pt x="55" y="269"/>
                  <a:pt x="63" y="272"/>
                  <a:pt x="71" y="273"/>
                </a:cubicBezTo>
                <a:cubicBezTo>
                  <a:pt x="78" y="275"/>
                  <a:pt x="84" y="276"/>
                  <a:pt x="85" y="278"/>
                </a:cubicBezTo>
                <a:cubicBezTo>
                  <a:pt x="98" y="280"/>
                  <a:pt x="109" y="278"/>
                  <a:pt x="124" y="280"/>
                </a:cubicBezTo>
                <a:cubicBezTo>
                  <a:pt x="117" y="283"/>
                  <a:pt x="117" y="283"/>
                  <a:pt x="117" y="283"/>
                </a:cubicBezTo>
                <a:cubicBezTo>
                  <a:pt x="121" y="283"/>
                  <a:pt x="126" y="284"/>
                  <a:pt x="130" y="284"/>
                </a:cubicBezTo>
                <a:cubicBezTo>
                  <a:pt x="131" y="282"/>
                  <a:pt x="131" y="282"/>
                  <a:pt x="131" y="282"/>
                </a:cubicBezTo>
                <a:cubicBezTo>
                  <a:pt x="135" y="282"/>
                  <a:pt x="137" y="283"/>
                  <a:pt x="138" y="283"/>
                </a:cubicBezTo>
                <a:cubicBezTo>
                  <a:pt x="147" y="282"/>
                  <a:pt x="160" y="284"/>
                  <a:pt x="173" y="283"/>
                </a:cubicBezTo>
                <a:cubicBezTo>
                  <a:pt x="175" y="284"/>
                  <a:pt x="175" y="284"/>
                  <a:pt x="175" y="284"/>
                </a:cubicBezTo>
                <a:cubicBezTo>
                  <a:pt x="176" y="283"/>
                  <a:pt x="177" y="283"/>
                  <a:pt x="177" y="283"/>
                </a:cubicBezTo>
                <a:cubicBezTo>
                  <a:pt x="180" y="285"/>
                  <a:pt x="190" y="284"/>
                  <a:pt x="191" y="286"/>
                </a:cubicBezTo>
                <a:cubicBezTo>
                  <a:pt x="187" y="286"/>
                  <a:pt x="177" y="287"/>
                  <a:pt x="178" y="286"/>
                </a:cubicBezTo>
                <a:cubicBezTo>
                  <a:pt x="167" y="288"/>
                  <a:pt x="191" y="287"/>
                  <a:pt x="198" y="287"/>
                </a:cubicBezTo>
                <a:cubicBezTo>
                  <a:pt x="190" y="286"/>
                  <a:pt x="200" y="286"/>
                  <a:pt x="204" y="285"/>
                </a:cubicBezTo>
                <a:cubicBezTo>
                  <a:pt x="205" y="286"/>
                  <a:pt x="203" y="286"/>
                  <a:pt x="203" y="286"/>
                </a:cubicBezTo>
                <a:cubicBezTo>
                  <a:pt x="216" y="287"/>
                  <a:pt x="220" y="281"/>
                  <a:pt x="229" y="284"/>
                </a:cubicBezTo>
                <a:cubicBezTo>
                  <a:pt x="231" y="282"/>
                  <a:pt x="231" y="282"/>
                  <a:pt x="231" y="282"/>
                </a:cubicBezTo>
                <a:cubicBezTo>
                  <a:pt x="234" y="283"/>
                  <a:pt x="238" y="283"/>
                  <a:pt x="241" y="283"/>
                </a:cubicBezTo>
                <a:cubicBezTo>
                  <a:pt x="242" y="279"/>
                  <a:pt x="255" y="281"/>
                  <a:pt x="257" y="277"/>
                </a:cubicBezTo>
                <a:cubicBezTo>
                  <a:pt x="268" y="275"/>
                  <a:pt x="255" y="279"/>
                  <a:pt x="259" y="278"/>
                </a:cubicBezTo>
                <a:cubicBezTo>
                  <a:pt x="270" y="278"/>
                  <a:pt x="288" y="270"/>
                  <a:pt x="292" y="271"/>
                </a:cubicBezTo>
                <a:cubicBezTo>
                  <a:pt x="301" y="268"/>
                  <a:pt x="311" y="266"/>
                  <a:pt x="319" y="263"/>
                </a:cubicBezTo>
                <a:cubicBezTo>
                  <a:pt x="320" y="265"/>
                  <a:pt x="320" y="265"/>
                  <a:pt x="320" y="265"/>
                </a:cubicBezTo>
                <a:cubicBezTo>
                  <a:pt x="324" y="263"/>
                  <a:pt x="328" y="261"/>
                  <a:pt x="332" y="260"/>
                </a:cubicBezTo>
                <a:cubicBezTo>
                  <a:pt x="332" y="260"/>
                  <a:pt x="331" y="260"/>
                  <a:pt x="331" y="261"/>
                </a:cubicBezTo>
                <a:cubicBezTo>
                  <a:pt x="351" y="253"/>
                  <a:pt x="351" y="253"/>
                  <a:pt x="351" y="253"/>
                </a:cubicBezTo>
                <a:cubicBezTo>
                  <a:pt x="357" y="250"/>
                  <a:pt x="363" y="248"/>
                  <a:pt x="369" y="246"/>
                </a:cubicBezTo>
                <a:cubicBezTo>
                  <a:pt x="368" y="247"/>
                  <a:pt x="369" y="248"/>
                  <a:pt x="362" y="251"/>
                </a:cubicBezTo>
                <a:cubicBezTo>
                  <a:pt x="373" y="248"/>
                  <a:pt x="392" y="238"/>
                  <a:pt x="408" y="228"/>
                </a:cubicBezTo>
                <a:cubicBezTo>
                  <a:pt x="407" y="229"/>
                  <a:pt x="407" y="229"/>
                  <a:pt x="407" y="229"/>
                </a:cubicBezTo>
                <a:cubicBezTo>
                  <a:pt x="410" y="227"/>
                  <a:pt x="413" y="225"/>
                  <a:pt x="415" y="222"/>
                </a:cubicBezTo>
                <a:cubicBezTo>
                  <a:pt x="414" y="224"/>
                  <a:pt x="415" y="223"/>
                  <a:pt x="416" y="224"/>
                </a:cubicBezTo>
                <a:cubicBezTo>
                  <a:pt x="423" y="219"/>
                  <a:pt x="431" y="211"/>
                  <a:pt x="437" y="204"/>
                </a:cubicBezTo>
                <a:cubicBezTo>
                  <a:pt x="443" y="196"/>
                  <a:pt x="446" y="189"/>
                  <a:pt x="447" y="183"/>
                </a:cubicBezTo>
                <a:cubicBezTo>
                  <a:pt x="445" y="188"/>
                  <a:pt x="453" y="176"/>
                  <a:pt x="449" y="187"/>
                </a:cubicBezTo>
                <a:cubicBezTo>
                  <a:pt x="453" y="178"/>
                  <a:pt x="456" y="167"/>
                  <a:pt x="457" y="155"/>
                </a:cubicBezTo>
                <a:cubicBezTo>
                  <a:pt x="458" y="144"/>
                  <a:pt x="456" y="132"/>
                  <a:pt x="452" y="122"/>
                </a:cubicBezTo>
                <a:cubicBezTo>
                  <a:pt x="452" y="123"/>
                  <a:pt x="452" y="123"/>
                  <a:pt x="452" y="123"/>
                </a:cubicBezTo>
                <a:cubicBezTo>
                  <a:pt x="450" y="120"/>
                  <a:pt x="449" y="117"/>
                  <a:pt x="447" y="115"/>
                </a:cubicBezTo>
                <a:cubicBezTo>
                  <a:pt x="447" y="114"/>
                  <a:pt x="447" y="114"/>
                  <a:pt x="447" y="114"/>
                </a:cubicBezTo>
                <a:cubicBezTo>
                  <a:pt x="448" y="116"/>
                  <a:pt x="449" y="118"/>
                  <a:pt x="450" y="120"/>
                </a:cubicBezTo>
                <a:cubicBezTo>
                  <a:pt x="447" y="112"/>
                  <a:pt x="443" y="105"/>
                  <a:pt x="438" y="100"/>
                </a:cubicBezTo>
                <a:cubicBezTo>
                  <a:pt x="438" y="99"/>
                  <a:pt x="438" y="96"/>
                  <a:pt x="436" y="92"/>
                </a:cubicBezTo>
                <a:cubicBezTo>
                  <a:pt x="435" y="93"/>
                  <a:pt x="432" y="88"/>
                  <a:pt x="427" y="82"/>
                </a:cubicBezTo>
                <a:cubicBezTo>
                  <a:pt x="423" y="76"/>
                  <a:pt x="417" y="70"/>
                  <a:pt x="413" y="67"/>
                </a:cubicBezTo>
                <a:cubicBezTo>
                  <a:pt x="412" y="66"/>
                  <a:pt x="416" y="70"/>
                  <a:pt x="414" y="67"/>
                </a:cubicBezTo>
                <a:cubicBezTo>
                  <a:pt x="405" y="59"/>
                  <a:pt x="392" y="49"/>
                  <a:pt x="378" y="41"/>
                </a:cubicBezTo>
                <a:cubicBezTo>
                  <a:pt x="364" y="33"/>
                  <a:pt x="349" y="26"/>
                  <a:pt x="336" y="20"/>
                </a:cubicBezTo>
                <a:cubicBezTo>
                  <a:pt x="334" y="21"/>
                  <a:pt x="327" y="19"/>
                  <a:pt x="319" y="17"/>
                </a:cubicBezTo>
                <a:cubicBezTo>
                  <a:pt x="311" y="15"/>
                  <a:pt x="301" y="13"/>
                  <a:pt x="293" y="12"/>
                </a:cubicBezTo>
                <a:cubicBezTo>
                  <a:pt x="290" y="9"/>
                  <a:pt x="302" y="13"/>
                  <a:pt x="307" y="12"/>
                </a:cubicBezTo>
                <a:cubicBezTo>
                  <a:pt x="298" y="11"/>
                  <a:pt x="306" y="9"/>
                  <a:pt x="290" y="7"/>
                </a:cubicBezTo>
                <a:cubicBezTo>
                  <a:pt x="291" y="7"/>
                  <a:pt x="290" y="6"/>
                  <a:pt x="293" y="7"/>
                </a:cubicBezTo>
                <a:cubicBezTo>
                  <a:pt x="285" y="5"/>
                  <a:pt x="295" y="10"/>
                  <a:pt x="281" y="7"/>
                </a:cubicBezTo>
                <a:cubicBezTo>
                  <a:pt x="281" y="5"/>
                  <a:pt x="281" y="5"/>
                  <a:pt x="281" y="5"/>
                </a:cubicBezTo>
                <a:cubicBezTo>
                  <a:pt x="273" y="6"/>
                  <a:pt x="273" y="6"/>
                  <a:pt x="273" y="6"/>
                </a:cubicBezTo>
                <a:cubicBezTo>
                  <a:pt x="245" y="1"/>
                  <a:pt x="221" y="1"/>
                  <a:pt x="197" y="0"/>
                </a:cubicBezTo>
                <a:cubicBezTo>
                  <a:pt x="195" y="0"/>
                  <a:pt x="196" y="1"/>
                  <a:pt x="199" y="2"/>
                </a:cubicBezTo>
                <a:cubicBezTo>
                  <a:pt x="188" y="2"/>
                  <a:pt x="175" y="5"/>
                  <a:pt x="163" y="5"/>
                </a:cubicBezTo>
                <a:cubicBezTo>
                  <a:pt x="166" y="4"/>
                  <a:pt x="166" y="4"/>
                  <a:pt x="166" y="4"/>
                </a:cubicBezTo>
                <a:cubicBezTo>
                  <a:pt x="156" y="5"/>
                  <a:pt x="151" y="6"/>
                  <a:pt x="145" y="7"/>
                </a:cubicBezTo>
                <a:cubicBezTo>
                  <a:pt x="136" y="10"/>
                  <a:pt x="136" y="10"/>
                  <a:pt x="136" y="10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6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7" y="13"/>
                  <a:pt x="127" y="13"/>
                  <a:pt x="127" y="13"/>
                </a:cubicBezTo>
                <a:cubicBezTo>
                  <a:pt x="128" y="13"/>
                  <a:pt x="128" y="13"/>
                  <a:pt x="128" y="13"/>
                </a:cubicBezTo>
                <a:cubicBezTo>
                  <a:pt x="130" y="12"/>
                  <a:pt x="132" y="12"/>
                  <a:pt x="133" y="11"/>
                </a:cubicBezTo>
                <a:cubicBezTo>
                  <a:pt x="137" y="10"/>
                  <a:pt x="141" y="10"/>
                  <a:pt x="141" y="11"/>
                </a:cubicBezTo>
                <a:cubicBezTo>
                  <a:pt x="140" y="12"/>
                  <a:pt x="137" y="13"/>
                  <a:pt x="133" y="13"/>
                </a:cubicBezTo>
                <a:cubicBezTo>
                  <a:pt x="131" y="14"/>
                  <a:pt x="130" y="14"/>
                  <a:pt x="128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4"/>
                  <a:pt x="127" y="14"/>
                  <a:pt x="127" y="14"/>
                </a:cubicBezTo>
                <a:cubicBezTo>
                  <a:pt x="127" y="16"/>
                  <a:pt x="127" y="16"/>
                  <a:pt x="127" y="16"/>
                </a:cubicBezTo>
                <a:cubicBezTo>
                  <a:pt x="127" y="16"/>
                  <a:pt x="127" y="16"/>
                  <a:pt x="127" y="15"/>
                </a:cubicBezTo>
                <a:cubicBezTo>
                  <a:pt x="128" y="15"/>
                  <a:pt x="128" y="15"/>
                  <a:pt x="129" y="15"/>
                </a:cubicBezTo>
                <a:cubicBezTo>
                  <a:pt x="130" y="14"/>
                  <a:pt x="132" y="14"/>
                  <a:pt x="134" y="13"/>
                </a:cubicBezTo>
                <a:cubicBezTo>
                  <a:pt x="144" y="11"/>
                  <a:pt x="144" y="11"/>
                  <a:pt x="144" y="11"/>
                </a:cubicBezTo>
                <a:cubicBezTo>
                  <a:pt x="142" y="11"/>
                  <a:pt x="142" y="12"/>
                  <a:pt x="141" y="12"/>
                </a:cubicBezTo>
                <a:cubicBezTo>
                  <a:pt x="147" y="11"/>
                  <a:pt x="155" y="10"/>
                  <a:pt x="163" y="8"/>
                </a:cubicBezTo>
                <a:cubicBezTo>
                  <a:pt x="159" y="8"/>
                  <a:pt x="155" y="9"/>
                  <a:pt x="151" y="9"/>
                </a:cubicBezTo>
                <a:cubicBezTo>
                  <a:pt x="156" y="7"/>
                  <a:pt x="171" y="7"/>
                  <a:pt x="176" y="6"/>
                </a:cubicBezTo>
                <a:cubicBezTo>
                  <a:pt x="176" y="8"/>
                  <a:pt x="169" y="8"/>
                  <a:pt x="176" y="9"/>
                </a:cubicBezTo>
                <a:cubicBezTo>
                  <a:pt x="186" y="9"/>
                  <a:pt x="189" y="8"/>
                  <a:pt x="192" y="7"/>
                </a:cubicBezTo>
                <a:cubicBezTo>
                  <a:pt x="194" y="6"/>
                  <a:pt x="197" y="5"/>
                  <a:pt x="207" y="4"/>
                </a:cubicBezTo>
                <a:cubicBezTo>
                  <a:pt x="203" y="3"/>
                  <a:pt x="203" y="3"/>
                  <a:pt x="203" y="3"/>
                </a:cubicBezTo>
                <a:cubicBezTo>
                  <a:pt x="209" y="3"/>
                  <a:pt x="214" y="1"/>
                  <a:pt x="223" y="2"/>
                </a:cubicBezTo>
                <a:cubicBezTo>
                  <a:pt x="223" y="4"/>
                  <a:pt x="216" y="4"/>
                  <a:pt x="213" y="4"/>
                </a:cubicBezTo>
                <a:cubicBezTo>
                  <a:pt x="214" y="5"/>
                  <a:pt x="224" y="2"/>
                  <a:pt x="230" y="4"/>
                </a:cubicBezTo>
                <a:cubicBezTo>
                  <a:pt x="225" y="5"/>
                  <a:pt x="210" y="6"/>
                  <a:pt x="200" y="6"/>
                </a:cubicBezTo>
                <a:cubicBezTo>
                  <a:pt x="201" y="7"/>
                  <a:pt x="201" y="7"/>
                  <a:pt x="200" y="8"/>
                </a:cubicBezTo>
                <a:cubicBezTo>
                  <a:pt x="229" y="6"/>
                  <a:pt x="262" y="6"/>
                  <a:pt x="291" y="13"/>
                </a:cubicBezTo>
                <a:cubicBezTo>
                  <a:pt x="275" y="13"/>
                  <a:pt x="297" y="15"/>
                  <a:pt x="293" y="17"/>
                </a:cubicBezTo>
                <a:cubicBezTo>
                  <a:pt x="296" y="15"/>
                  <a:pt x="304" y="19"/>
                  <a:pt x="312" y="21"/>
                </a:cubicBezTo>
                <a:cubicBezTo>
                  <a:pt x="315" y="24"/>
                  <a:pt x="296" y="18"/>
                  <a:pt x="302" y="21"/>
                </a:cubicBezTo>
                <a:cubicBezTo>
                  <a:pt x="317" y="24"/>
                  <a:pt x="338" y="28"/>
                  <a:pt x="356" y="38"/>
                </a:cubicBezTo>
                <a:cubicBezTo>
                  <a:pt x="355" y="38"/>
                  <a:pt x="350" y="36"/>
                  <a:pt x="349" y="36"/>
                </a:cubicBezTo>
                <a:cubicBezTo>
                  <a:pt x="356" y="38"/>
                  <a:pt x="363" y="41"/>
                  <a:pt x="370" y="44"/>
                </a:cubicBezTo>
                <a:cubicBezTo>
                  <a:pt x="376" y="47"/>
                  <a:pt x="382" y="50"/>
                  <a:pt x="385" y="54"/>
                </a:cubicBezTo>
                <a:cubicBezTo>
                  <a:pt x="379" y="51"/>
                  <a:pt x="372" y="48"/>
                  <a:pt x="366" y="46"/>
                </a:cubicBezTo>
                <a:cubicBezTo>
                  <a:pt x="367" y="47"/>
                  <a:pt x="369" y="48"/>
                  <a:pt x="372" y="50"/>
                </a:cubicBezTo>
                <a:cubicBezTo>
                  <a:pt x="370" y="50"/>
                  <a:pt x="368" y="50"/>
                  <a:pt x="367" y="49"/>
                </a:cubicBezTo>
                <a:cubicBezTo>
                  <a:pt x="380" y="58"/>
                  <a:pt x="379" y="53"/>
                  <a:pt x="387" y="57"/>
                </a:cubicBezTo>
                <a:cubicBezTo>
                  <a:pt x="389" y="59"/>
                  <a:pt x="392" y="62"/>
                  <a:pt x="394" y="64"/>
                </a:cubicBezTo>
                <a:cubicBezTo>
                  <a:pt x="407" y="76"/>
                  <a:pt x="419" y="88"/>
                  <a:pt x="428" y="95"/>
                </a:cubicBezTo>
                <a:cubicBezTo>
                  <a:pt x="431" y="98"/>
                  <a:pt x="438" y="109"/>
                  <a:pt x="433" y="106"/>
                </a:cubicBezTo>
                <a:cubicBezTo>
                  <a:pt x="430" y="103"/>
                  <a:pt x="427" y="101"/>
                  <a:pt x="424" y="98"/>
                </a:cubicBezTo>
                <a:cubicBezTo>
                  <a:pt x="421" y="95"/>
                  <a:pt x="417" y="91"/>
                  <a:pt x="411" y="84"/>
                </a:cubicBezTo>
                <a:cubicBezTo>
                  <a:pt x="410" y="81"/>
                  <a:pt x="421" y="93"/>
                  <a:pt x="418" y="89"/>
                </a:cubicBezTo>
                <a:cubicBezTo>
                  <a:pt x="413" y="84"/>
                  <a:pt x="404" y="73"/>
                  <a:pt x="398" y="71"/>
                </a:cubicBezTo>
                <a:cubicBezTo>
                  <a:pt x="403" y="75"/>
                  <a:pt x="408" y="79"/>
                  <a:pt x="412" y="84"/>
                </a:cubicBezTo>
                <a:cubicBezTo>
                  <a:pt x="410" y="85"/>
                  <a:pt x="407" y="78"/>
                  <a:pt x="403" y="77"/>
                </a:cubicBezTo>
                <a:cubicBezTo>
                  <a:pt x="406" y="82"/>
                  <a:pt x="415" y="88"/>
                  <a:pt x="419" y="95"/>
                </a:cubicBezTo>
                <a:cubicBezTo>
                  <a:pt x="418" y="94"/>
                  <a:pt x="418" y="94"/>
                  <a:pt x="418" y="94"/>
                </a:cubicBezTo>
                <a:cubicBezTo>
                  <a:pt x="423" y="99"/>
                  <a:pt x="425" y="102"/>
                  <a:pt x="427" y="104"/>
                </a:cubicBezTo>
                <a:cubicBezTo>
                  <a:pt x="428" y="107"/>
                  <a:pt x="430" y="110"/>
                  <a:pt x="434" y="116"/>
                </a:cubicBezTo>
                <a:cubicBezTo>
                  <a:pt x="437" y="115"/>
                  <a:pt x="434" y="110"/>
                  <a:pt x="430" y="104"/>
                </a:cubicBezTo>
                <a:cubicBezTo>
                  <a:pt x="437" y="114"/>
                  <a:pt x="445" y="127"/>
                  <a:pt x="448" y="141"/>
                </a:cubicBezTo>
                <a:cubicBezTo>
                  <a:pt x="449" y="148"/>
                  <a:pt x="449" y="156"/>
                  <a:pt x="447" y="163"/>
                </a:cubicBezTo>
                <a:cubicBezTo>
                  <a:pt x="445" y="169"/>
                  <a:pt x="442" y="176"/>
                  <a:pt x="439" y="180"/>
                </a:cubicBezTo>
                <a:cubicBezTo>
                  <a:pt x="440" y="176"/>
                  <a:pt x="441" y="171"/>
                  <a:pt x="442" y="166"/>
                </a:cubicBezTo>
                <a:cubicBezTo>
                  <a:pt x="441" y="171"/>
                  <a:pt x="439" y="176"/>
                  <a:pt x="436" y="181"/>
                </a:cubicBezTo>
                <a:cubicBezTo>
                  <a:pt x="434" y="185"/>
                  <a:pt x="432" y="188"/>
                  <a:pt x="431" y="187"/>
                </a:cubicBezTo>
                <a:cubicBezTo>
                  <a:pt x="434" y="183"/>
                  <a:pt x="434" y="181"/>
                  <a:pt x="434" y="180"/>
                </a:cubicBezTo>
                <a:cubicBezTo>
                  <a:pt x="434" y="180"/>
                  <a:pt x="434" y="179"/>
                  <a:pt x="435" y="177"/>
                </a:cubicBezTo>
                <a:cubicBezTo>
                  <a:pt x="435" y="176"/>
                  <a:pt x="435" y="176"/>
                  <a:pt x="435" y="176"/>
                </a:cubicBezTo>
                <a:cubicBezTo>
                  <a:pt x="436" y="175"/>
                  <a:pt x="437" y="172"/>
                  <a:pt x="436" y="174"/>
                </a:cubicBezTo>
                <a:cubicBezTo>
                  <a:pt x="434" y="181"/>
                  <a:pt x="428" y="192"/>
                  <a:pt x="423" y="199"/>
                </a:cubicBezTo>
                <a:cubicBezTo>
                  <a:pt x="425" y="195"/>
                  <a:pt x="419" y="201"/>
                  <a:pt x="417" y="201"/>
                </a:cubicBezTo>
                <a:cubicBezTo>
                  <a:pt x="412" y="207"/>
                  <a:pt x="418" y="202"/>
                  <a:pt x="419" y="202"/>
                </a:cubicBezTo>
                <a:cubicBezTo>
                  <a:pt x="416" y="206"/>
                  <a:pt x="412" y="212"/>
                  <a:pt x="408" y="213"/>
                </a:cubicBezTo>
                <a:cubicBezTo>
                  <a:pt x="405" y="214"/>
                  <a:pt x="406" y="212"/>
                  <a:pt x="408" y="210"/>
                </a:cubicBezTo>
                <a:cubicBezTo>
                  <a:pt x="411" y="208"/>
                  <a:pt x="413" y="205"/>
                  <a:pt x="414" y="204"/>
                </a:cubicBezTo>
                <a:cubicBezTo>
                  <a:pt x="408" y="210"/>
                  <a:pt x="402" y="216"/>
                  <a:pt x="395" y="221"/>
                </a:cubicBezTo>
                <a:cubicBezTo>
                  <a:pt x="395" y="220"/>
                  <a:pt x="395" y="220"/>
                  <a:pt x="395" y="220"/>
                </a:cubicBezTo>
                <a:cubicBezTo>
                  <a:pt x="393" y="221"/>
                  <a:pt x="390" y="224"/>
                  <a:pt x="388" y="224"/>
                </a:cubicBezTo>
                <a:cubicBezTo>
                  <a:pt x="385" y="224"/>
                  <a:pt x="390" y="222"/>
                  <a:pt x="394" y="220"/>
                </a:cubicBezTo>
                <a:cubicBezTo>
                  <a:pt x="381" y="225"/>
                  <a:pt x="374" y="233"/>
                  <a:pt x="361" y="234"/>
                </a:cubicBezTo>
                <a:cubicBezTo>
                  <a:pt x="355" y="238"/>
                  <a:pt x="355" y="238"/>
                  <a:pt x="355" y="238"/>
                </a:cubicBezTo>
                <a:cubicBezTo>
                  <a:pt x="354" y="238"/>
                  <a:pt x="352" y="238"/>
                  <a:pt x="354" y="238"/>
                </a:cubicBezTo>
                <a:cubicBezTo>
                  <a:pt x="347" y="241"/>
                  <a:pt x="347" y="241"/>
                  <a:pt x="347" y="241"/>
                </a:cubicBezTo>
                <a:cubicBezTo>
                  <a:pt x="334" y="247"/>
                  <a:pt x="343" y="240"/>
                  <a:pt x="338" y="241"/>
                </a:cubicBezTo>
                <a:cubicBezTo>
                  <a:pt x="339" y="241"/>
                  <a:pt x="339" y="241"/>
                  <a:pt x="339" y="241"/>
                </a:cubicBezTo>
                <a:cubicBezTo>
                  <a:pt x="335" y="242"/>
                  <a:pt x="331" y="242"/>
                  <a:pt x="334" y="241"/>
                </a:cubicBezTo>
                <a:cubicBezTo>
                  <a:pt x="330" y="243"/>
                  <a:pt x="325" y="245"/>
                  <a:pt x="321" y="247"/>
                </a:cubicBezTo>
                <a:cubicBezTo>
                  <a:pt x="321" y="247"/>
                  <a:pt x="321" y="247"/>
                  <a:pt x="321" y="247"/>
                </a:cubicBezTo>
                <a:cubicBezTo>
                  <a:pt x="318" y="249"/>
                  <a:pt x="312" y="251"/>
                  <a:pt x="306" y="254"/>
                </a:cubicBezTo>
                <a:cubicBezTo>
                  <a:pt x="301" y="256"/>
                  <a:pt x="296" y="258"/>
                  <a:pt x="296" y="260"/>
                </a:cubicBezTo>
                <a:cubicBezTo>
                  <a:pt x="292" y="261"/>
                  <a:pt x="289" y="261"/>
                  <a:pt x="291" y="260"/>
                </a:cubicBezTo>
                <a:cubicBezTo>
                  <a:pt x="280" y="262"/>
                  <a:pt x="293" y="257"/>
                  <a:pt x="275" y="261"/>
                </a:cubicBezTo>
                <a:cubicBezTo>
                  <a:pt x="275" y="260"/>
                  <a:pt x="277" y="260"/>
                  <a:pt x="280" y="259"/>
                </a:cubicBezTo>
                <a:cubicBezTo>
                  <a:pt x="275" y="260"/>
                  <a:pt x="274" y="260"/>
                  <a:pt x="273" y="261"/>
                </a:cubicBezTo>
                <a:cubicBezTo>
                  <a:pt x="273" y="261"/>
                  <a:pt x="272" y="260"/>
                  <a:pt x="271" y="260"/>
                </a:cubicBezTo>
                <a:cubicBezTo>
                  <a:pt x="271" y="261"/>
                  <a:pt x="264" y="262"/>
                  <a:pt x="260" y="263"/>
                </a:cubicBezTo>
                <a:cubicBezTo>
                  <a:pt x="266" y="259"/>
                  <a:pt x="266" y="259"/>
                  <a:pt x="266" y="259"/>
                </a:cubicBezTo>
                <a:cubicBezTo>
                  <a:pt x="262" y="261"/>
                  <a:pt x="260" y="262"/>
                  <a:pt x="252" y="262"/>
                </a:cubicBezTo>
                <a:cubicBezTo>
                  <a:pt x="257" y="260"/>
                  <a:pt x="257" y="260"/>
                  <a:pt x="257" y="260"/>
                </a:cubicBezTo>
                <a:cubicBezTo>
                  <a:pt x="245" y="262"/>
                  <a:pt x="256" y="264"/>
                  <a:pt x="242" y="264"/>
                </a:cubicBezTo>
                <a:cubicBezTo>
                  <a:pt x="246" y="264"/>
                  <a:pt x="251" y="264"/>
                  <a:pt x="255" y="264"/>
                </a:cubicBezTo>
                <a:cubicBezTo>
                  <a:pt x="240" y="266"/>
                  <a:pt x="245" y="268"/>
                  <a:pt x="239" y="271"/>
                </a:cubicBezTo>
                <a:cubicBezTo>
                  <a:pt x="223" y="275"/>
                  <a:pt x="203" y="271"/>
                  <a:pt x="190" y="276"/>
                </a:cubicBezTo>
                <a:cubicBezTo>
                  <a:pt x="188" y="274"/>
                  <a:pt x="190" y="274"/>
                  <a:pt x="186" y="272"/>
                </a:cubicBezTo>
                <a:cubicBezTo>
                  <a:pt x="196" y="272"/>
                  <a:pt x="201" y="271"/>
                  <a:pt x="206" y="269"/>
                </a:cubicBezTo>
                <a:cubicBezTo>
                  <a:pt x="225" y="266"/>
                  <a:pt x="211" y="274"/>
                  <a:pt x="233" y="269"/>
                </a:cubicBezTo>
                <a:cubicBezTo>
                  <a:pt x="231" y="268"/>
                  <a:pt x="225" y="268"/>
                  <a:pt x="219" y="269"/>
                </a:cubicBezTo>
                <a:cubicBezTo>
                  <a:pt x="218" y="268"/>
                  <a:pt x="225" y="266"/>
                  <a:pt x="230" y="265"/>
                </a:cubicBezTo>
                <a:cubicBezTo>
                  <a:pt x="218" y="267"/>
                  <a:pt x="200" y="266"/>
                  <a:pt x="192" y="266"/>
                </a:cubicBezTo>
                <a:cubicBezTo>
                  <a:pt x="189" y="267"/>
                  <a:pt x="179" y="268"/>
                  <a:pt x="175" y="267"/>
                </a:cubicBezTo>
                <a:cubicBezTo>
                  <a:pt x="175" y="269"/>
                  <a:pt x="156" y="269"/>
                  <a:pt x="162" y="271"/>
                </a:cubicBezTo>
                <a:cubicBezTo>
                  <a:pt x="148" y="271"/>
                  <a:pt x="153" y="268"/>
                  <a:pt x="140" y="270"/>
                </a:cubicBezTo>
                <a:cubicBezTo>
                  <a:pt x="145" y="268"/>
                  <a:pt x="132" y="267"/>
                  <a:pt x="138" y="266"/>
                </a:cubicBezTo>
                <a:cubicBezTo>
                  <a:pt x="142" y="268"/>
                  <a:pt x="156" y="266"/>
                  <a:pt x="163" y="265"/>
                </a:cubicBezTo>
                <a:cubicBezTo>
                  <a:pt x="157" y="264"/>
                  <a:pt x="150" y="264"/>
                  <a:pt x="144" y="263"/>
                </a:cubicBezTo>
                <a:cubicBezTo>
                  <a:pt x="149" y="264"/>
                  <a:pt x="142" y="265"/>
                  <a:pt x="139" y="265"/>
                </a:cubicBezTo>
                <a:cubicBezTo>
                  <a:pt x="137" y="263"/>
                  <a:pt x="137" y="263"/>
                  <a:pt x="137" y="263"/>
                </a:cubicBezTo>
                <a:cubicBezTo>
                  <a:pt x="135" y="265"/>
                  <a:pt x="127" y="263"/>
                  <a:pt x="118" y="261"/>
                </a:cubicBezTo>
                <a:cubicBezTo>
                  <a:pt x="109" y="260"/>
                  <a:pt x="99" y="257"/>
                  <a:pt x="94" y="259"/>
                </a:cubicBezTo>
                <a:cubicBezTo>
                  <a:pt x="100" y="260"/>
                  <a:pt x="105" y="262"/>
                  <a:pt x="108" y="260"/>
                </a:cubicBezTo>
                <a:cubicBezTo>
                  <a:pt x="119" y="263"/>
                  <a:pt x="105" y="263"/>
                  <a:pt x="110" y="265"/>
                </a:cubicBezTo>
                <a:cubicBezTo>
                  <a:pt x="101" y="265"/>
                  <a:pt x="90" y="263"/>
                  <a:pt x="80" y="260"/>
                </a:cubicBezTo>
                <a:cubicBezTo>
                  <a:pt x="69" y="257"/>
                  <a:pt x="58" y="254"/>
                  <a:pt x="49" y="251"/>
                </a:cubicBezTo>
                <a:cubicBezTo>
                  <a:pt x="53" y="251"/>
                  <a:pt x="61" y="255"/>
                  <a:pt x="62" y="253"/>
                </a:cubicBezTo>
                <a:cubicBezTo>
                  <a:pt x="56" y="250"/>
                  <a:pt x="49" y="248"/>
                  <a:pt x="42" y="245"/>
                </a:cubicBezTo>
                <a:cubicBezTo>
                  <a:pt x="34" y="241"/>
                  <a:pt x="27" y="237"/>
                  <a:pt x="22" y="231"/>
                </a:cubicBezTo>
                <a:cubicBezTo>
                  <a:pt x="23" y="231"/>
                  <a:pt x="24" y="231"/>
                  <a:pt x="25" y="232"/>
                </a:cubicBezTo>
                <a:cubicBezTo>
                  <a:pt x="21" y="227"/>
                  <a:pt x="20" y="226"/>
                  <a:pt x="20" y="224"/>
                </a:cubicBezTo>
                <a:cubicBezTo>
                  <a:pt x="20" y="223"/>
                  <a:pt x="19" y="221"/>
                  <a:pt x="17" y="215"/>
                </a:cubicBezTo>
                <a:cubicBezTo>
                  <a:pt x="17" y="215"/>
                  <a:pt x="17" y="217"/>
                  <a:pt x="16" y="214"/>
                </a:cubicBezTo>
                <a:cubicBezTo>
                  <a:pt x="15" y="208"/>
                  <a:pt x="15" y="208"/>
                  <a:pt x="16" y="208"/>
                </a:cubicBezTo>
                <a:cubicBezTo>
                  <a:pt x="16" y="208"/>
                  <a:pt x="17" y="209"/>
                  <a:pt x="17" y="205"/>
                </a:cubicBezTo>
                <a:cubicBezTo>
                  <a:pt x="15" y="198"/>
                  <a:pt x="16" y="196"/>
                  <a:pt x="17" y="194"/>
                </a:cubicBezTo>
                <a:cubicBezTo>
                  <a:pt x="18" y="192"/>
                  <a:pt x="18" y="189"/>
                  <a:pt x="20" y="180"/>
                </a:cubicBezTo>
                <a:cubicBezTo>
                  <a:pt x="20" y="182"/>
                  <a:pt x="20" y="182"/>
                  <a:pt x="20" y="182"/>
                </a:cubicBezTo>
                <a:cubicBezTo>
                  <a:pt x="21" y="175"/>
                  <a:pt x="24" y="167"/>
                  <a:pt x="29" y="160"/>
                </a:cubicBezTo>
                <a:cubicBezTo>
                  <a:pt x="33" y="153"/>
                  <a:pt x="39" y="146"/>
                  <a:pt x="43" y="140"/>
                </a:cubicBezTo>
                <a:cubicBezTo>
                  <a:pt x="42" y="140"/>
                  <a:pt x="36" y="150"/>
                  <a:pt x="35" y="148"/>
                </a:cubicBezTo>
                <a:cubicBezTo>
                  <a:pt x="38" y="142"/>
                  <a:pt x="42" y="137"/>
                  <a:pt x="46" y="132"/>
                </a:cubicBezTo>
                <a:cubicBezTo>
                  <a:pt x="47" y="131"/>
                  <a:pt x="53" y="125"/>
                  <a:pt x="50" y="130"/>
                </a:cubicBezTo>
                <a:cubicBezTo>
                  <a:pt x="49" y="132"/>
                  <a:pt x="47" y="134"/>
                  <a:pt x="46" y="135"/>
                </a:cubicBezTo>
                <a:cubicBezTo>
                  <a:pt x="48" y="134"/>
                  <a:pt x="48" y="134"/>
                  <a:pt x="48" y="134"/>
                </a:cubicBezTo>
                <a:cubicBezTo>
                  <a:pt x="59" y="119"/>
                  <a:pt x="45" y="132"/>
                  <a:pt x="43" y="131"/>
                </a:cubicBezTo>
                <a:cubicBezTo>
                  <a:pt x="50" y="124"/>
                  <a:pt x="51" y="120"/>
                  <a:pt x="56" y="115"/>
                </a:cubicBezTo>
                <a:cubicBezTo>
                  <a:pt x="59" y="114"/>
                  <a:pt x="49" y="126"/>
                  <a:pt x="56" y="121"/>
                </a:cubicBezTo>
                <a:cubicBezTo>
                  <a:pt x="58" y="119"/>
                  <a:pt x="62" y="115"/>
                  <a:pt x="67" y="110"/>
                </a:cubicBezTo>
                <a:cubicBezTo>
                  <a:pt x="71" y="105"/>
                  <a:pt x="75" y="100"/>
                  <a:pt x="77" y="97"/>
                </a:cubicBezTo>
                <a:cubicBezTo>
                  <a:pt x="82" y="96"/>
                  <a:pt x="90" y="90"/>
                  <a:pt x="97" y="85"/>
                </a:cubicBezTo>
                <a:cubicBezTo>
                  <a:pt x="104" y="80"/>
                  <a:pt x="110" y="76"/>
                  <a:pt x="111" y="77"/>
                </a:cubicBezTo>
                <a:cubicBezTo>
                  <a:pt x="110" y="77"/>
                  <a:pt x="112" y="74"/>
                  <a:pt x="116" y="72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127" y="69"/>
                  <a:pt x="124" y="65"/>
                  <a:pt x="132" y="61"/>
                </a:cubicBezTo>
                <a:cubicBezTo>
                  <a:pt x="132" y="62"/>
                  <a:pt x="130" y="64"/>
                  <a:pt x="129" y="65"/>
                </a:cubicBezTo>
                <a:cubicBezTo>
                  <a:pt x="146" y="57"/>
                  <a:pt x="153" y="48"/>
                  <a:pt x="171" y="43"/>
                </a:cubicBezTo>
                <a:cubicBezTo>
                  <a:pt x="171" y="44"/>
                  <a:pt x="170" y="44"/>
                  <a:pt x="168" y="45"/>
                </a:cubicBezTo>
                <a:cubicBezTo>
                  <a:pt x="168" y="46"/>
                  <a:pt x="171" y="44"/>
                  <a:pt x="176" y="41"/>
                </a:cubicBezTo>
                <a:cubicBezTo>
                  <a:pt x="170" y="42"/>
                  <a:pt x="170" y="42"/>
                  <a:pt x="170" y="42"/>
                </a:cubicBezTo>
                <a:cubicBezTo>
                  <a:pt x="177" y="35"/>
                  <a:pt x="195" y="35"/>
                  <a:pt x="209" y="30"/>
                </a:cubicBezTo>
                <a:cubicBezTo>
                  <a:pt x="208" y="31"/>
                  <a:pt x="197" y="35"/>
                  <a:pt x="203" y="34"/>
                </a:cubicBezTo>
                <a:cubicBezTo>
                  <a:pt x="213" y="31"/>
                  <a:pt x="211" y="27"/>
                  <a:pt x="223" y="27"/>
                </a:cubicBezTo>
                <a:cubicBezTo>
                  <a:pt x="218" y="28"/>
                  <a:pt x="220" y="30"/>
                  <a:pt x="215" y="32"/>
                </a:cubicBezTo>
                <a:cubicBezTo>
                  <a:pt x="223" y="30"/>
                  <a:pt x="228" y="30"/>
                  <a:pt x="230" y="28"/>
                </a:cubicBezTo>
                <a:cubicBezTo>
                  <a:pt x="233" y="28"/>
                  <a:pt x="234" y="28"/>
                  <a:pt x="234" y="28"/>
                </a:cubicBezTo>
                <a:cubicBezTo>
                  <a:pt x="238" y="26"/>
                  <a:pt x="246" y="26"/>
                  <a:pt x="251" y="25"/>
                </a:cubicBezTo>
                <a:cubicBezTo>
                  <a:pt x="250" y="26"/>
                  <a:pt x="250" y="26"/>
                  <a:pt x="250" y="26"/>
                </a:cubicBezTo>
                <a:cubicBezTo>
                  <a:pt x="259" y="20"/>
                  <a:pt x="266" y="23"/>
                  <a:pt x="278" y="21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82" y="21"/>
                  <a:pt x="290" y="19"/>
                  <a:pt x="299" y="20"/>
                </a:cubicBezTo>
                <a:cubicBezTo>
                  <a:pt x="294" y="22"/>
                  <a:pt x="294" y="22"/>
                  <a:pt x="294" y="22"/>
                </a:cubicBezTo>
                <a:cubicBezTo>
                  <a:pt x="302" y="20"/>
                  <a:pt x="315" y="21"/>
                  <a:pt x="321" y="19"/>
                </a:cubicBezTo>
                <a:cubicBezTo>
                  <a:pt x="324" y="19"/>
                  <a:pt x="315" y="22"/>
                  <a:pt x="327" y="21"/>
                </a:cubicBezTo>
                <a:cubicBezTo>
                  <a:pt x="329" y="20"/>
                  <a:pt x="339" y="19"/>
                  <a:pt x="342" y="20"/>
                </a:cubicBezTo>
                <a:cubicBezTo>
                  <a:pt x="342" y="21"/>
                  <a:pt x="340" y="22"/>
                  <a:pt x="337" y="21"/>
                </a:cubicBezTo>
                <a:cubicBezTo>
                  <a:pt x="335" y="21"/>
                  <a:pt x="336" y="21"/>
                  <a:pt x="337" y="20"/>
                </a:cubicBezTo>
                <a:cubicBezTo>
                  <a:pt x="333" y="22"/>
                  <a:pt x="333" y="22"/>
                  <a:pt x="333" y="22"/>
                </a:cubicBezTo>
                <a:cubicBezTo>
                  <a:pt x="342" y="22"/>
                  <a:pt x="341" y="20"/>
                  <a:pt x="350" y="21"/>
                </a:cubicBezTo>
                <a:cubicBezTo>
                  <a:pt x="352" y="22"/>
                  <a:pt x="347" y="22"/>
                  <a:pt x="346" y="23"/>
                </a:cubicBezTo>
                <a:cubicBezTo>
                  <a:pt x="358" y="22"/>
                  <a:pt x="370" y="21"/>
                  <a:pt x="382" y="21"/>
                </a:cubicBezTo>
                <a:cubicBezTo>
                  <a:pt x="383" y="20"/>
                  <a:pt x="378" y="19"/>
                  <a:pt x="382" y="18"/>
                </a:cubicBezTo>
                <a:cubicBezTo>
                  <a:pt x="369" y="17"/>
                  <a:pt x="369" y="17"/>
                  <a:pt x="369" y="17"/>
                </a:cubicBezTo>
                <a:cubicBezTo>
                  <a:pt x="363" y="15"/>
                  <a:pt x="376" y="15"/>
                  <a:pt x="381" y="15"/>
                </a:cubicBezTo>
                <a:cubicBezTo>
                  <a:pt x="373" y="14"/>
                  <a:pt x="373" y="14"/>
                  <a:pt x="373" y="14"/>
                </a:cubicBezTo>
                <a:cubicBezTo>
                  <a:pt x="372" y="14"/>
                  <a:pt x="373" y="14"/>
                  <a:pt x="373" y="14"/>
                </a:cubicBezTo>
                <a:cubicBezTo>
                  <a:pt x="367" y="14"/>
                  <a:pt x="367" y="14"/>
                  <a:pt x="367" y="14"/>
                </a:cubicBezTo>
                <a:cubicBezTo>
                  <a:pt x="384" y="11"/>
                  <a:pt x="349" y="10"/>
                  <a:pt x="368" y="9"/>
                </a:cubicBezTo>
                <a:cubicBezTo>
                  <a:pt x="363" y="9"/>
                  <a:pt x="358" y="10"/>
                  <a:pt x="355" y="11"/>
                </a:cubicBezTo>
                <a:cubicBezTo>
                  <a:pt x="346" y="11"/>
                  <a:pt x="348" y="10"/>
                  <a:pt x="345" y="10"/>
                </a:cubicBezTo>
                <a:cubicBezTo>
                  <a:pt x="358" y="8"/>
                  <a:pt x="358" y="8"/>
                  <a:pt x="358" y="8"/>
                </a:cubicBezTo>
                <a:cubicBezTo>
                  <a:pt x="338" y="9"/>
                  <a:pt x="360" y="6"/>
                  <a:pt x="345" y="5"/>
                </a:cubicBezTo>
                <a:cubicBezTo>
                  <a:pt x="328" y="7"/>
                  <a:pt x="318" y="2"/>
                  <a:pt x="309" y="2"/>
                </a:cubicBezTo>
                <a:cubicBezTo>
                  <a:pt x="292" y="4"/>
                  <a:pt x="316" y="4"/>
                  <a:pt x="305" y="6"/>
                </a:cubicBezTo>
                <a:cubicBezTo>
                  <a:pt x="296" y="7"/>
                  <a:pt x="301" y="5"/>
                  <a:pt x="295" y="5"/>
                </a:cubicBezTo>
                <a:cubicBezTo>
                  <a:pt x="291" y="8"/>
                  <a:pt x="291" y="8"/>
                  <a:pt x="291" y="8"/>
                </a:cubicBezTo>
                <a:cubicBezTo>
                  <a:pt x="280" y="9"/>
                  <a:pt x="290" y="6"/>
                  <a:pt x="284" y="7"/>
                </a:cubicBezTo>
                <a:cubicBezTo>
                  <a:pt x="275" y="7"/>
                  <a:pt x="286" y="6"/>
                  <a:pt x="288" y="4"/>
                </a:cubicBezTo>
                <a:cubicBezTo>
                  <a:pt x="286" y="5"/>
                  <a:pt x="277" y="7"/>
                  <a:pt x="273" y="6"/>
                </a:cubicBezTo>
                <a:cubicBezTo>
                  <a:pt x="273" y="6"/>
                  <a:pt x="284" y="4"/>
                  <a:pt x="277" y="5"/>
                </a:cubicBezTo>
                <a:cubicBezTo>
                  <a:pt x="263" y="7"/>
                  <a:pt x="255" y="8"/>
                  <a:pt x="247" y="9"/>
                </a:cubicBezTo>
                <a:cubicBezTo>
                  <a:pt x="239" y="10"/>
                  <a:pt x="231" y="11"/>
                  <a:pt x="219" y="14"/>
                </a:cubicBezTo>
                <a:cubicBezTo>
                  <a:pt x="221" y="12"/>
                  <a:pt x="221" y="12"/>
                  <a:pt x="221" y="12"/>
                </a:cubicBezTo>
                <a:cubicBezTo>
                  <a:pt x="218" y="13"/>
                  <a:pt x="216" y="14"/>
                  <a:pt x="213" y="15"/>
                </a:cubicBezTo>
                <a:cubicBezTo>
                  <a:pt x="215" y="13"/>
                  <a:pt x="215" y="13"/>
                  <a:pt x="215" y="13"/>
                </a:cubicBezTo>
                <a:cubicBezTo>
                  <a:pt x="213" y="14"/>
                  <a:pt x="206" y="16"/>
                  <a:pt x="198" y="19"/>
                </a:cubicBezTo>
                <a:cubicBezTo>
                  <a:pt x="172" y="28"/>
                  <a:pt x="172" y="28"/>
                  <a:pt x="172" y="28"/>
                </a:cubicBezTo>
                <a:cubicBezTo>
                  <a:pt x="179" y="23"/>
                  <a:pt x="179" y="23"/>
                  <a:pt x="179" y="23"/>
                </a:cubicBezTo>
                <a:cubicBezTo>
                  <a:pt x="175" y="26"/>
                  <a:pt x="170" y="28"/>
                  <a:pt x="166" y="30"/>
                </a:cubicBezTo>
                <a:cubicBezTo>
                  <a:pt x="167" y="27"/>
                  <a:pt x="167" y="27"/>
                  <a:pt x="167" y="27"/>
                </a:cubicBezTo>
                <a:cubicBezTo>
                  <a:pt x="163" y="31"/>
                  <a:pt x="146" y="36"/>
                  <a:pt x="134" y="43"/>
                </a:cubicBezTo>
                <a:cubicBezTo>
                  <a:pt x="134" y="42"/>
                  <a:pt x="134" y="42"/>
                  <a:pt x="134" y="42"/>
                </a:cubicBezTo>
                <a:cubicBezTo>
                  <a:pt x="131" y="43"/>
                  <a:pt x="129" y="45"/>
                  <a:pt x="126" y="46"/>
                </a:cubicBezTo>
                <a:cubicBezTo>
                  <a:pt x="128" y="44"/>
                  <a:pt x="128" y="44"/>
                  <a:pt x="128" y="44"/>
                </a:cubicBezTo>
                <a:cubicBezTo>
                  <a:pt x="121" y="48"/>
                  <a:pt x="113" y="55"/>
                  <a:pt x="105" y="59"/>
                </a:cubicBezTo>
                <a:cubicBezTo>
                  <a:pt x="110" y="56"/>
                  <a:pt x="110" y="54"/>
                  <a:pt x="109" y="53"/>
                </a:cubicBezTo>
                <a:close/>
                <a:moveTo>
                  <a:pt x="136" y="282"/>
                </a:moveTo>
                <a:cubicBezTo>
                  <a:pt x="140" y="282"/>
                  <a:pt x="140" y="282"/>
                  <a:pt x="140" y="282"/>
                </a:cubicBezTo>
                <a:cubicBezTo>
                  <a:pt x="138" y="282"/>
                  <a:pt x="137" y="282"/>
                  <a:pt x="136" y="282"/>
                </a:cubicBezTo>
                <a:cubicBezTo>
                  <a:pt x="130" y="282"/>
                  <a:pt x="130" y="282"/>
                  <a:pt x="130" y="282"/>
                </a:cubicBezTo>
                <a:cubicBezTo>
                  <a:pt x="131" y="281"/>
                  <a:pt x="133" y="282"/>
                  <a:pt x="136" y="282"/>
                </a:cubicBezTo>
                <a:close/>
                <a:moveTo>
                  <a:pt x="345" y="25"/>
                </a:moveTo>
                <a:cubicBezTo>
                  <a:pt x="348" y="27"/>
                  <a:pt x="351" y="28"/>
                  <a:pt x="354" y="29"/>
                </a:cubicBezTo>
                <a:cubicBezTo>
                  <a:pt x="352" y="28"/>
                  <a:pt x="346" y="26"/>
                  <a:pt x="349" y="26"/>
                </a:cubicBezTo>
                <a:cubicBezTo>
                  <a:pt x="347" y="26"/>
                  <a:pt x="344" y="24"/>
                  <a:pt x="345" y="25"/>
                </a:cubicBezTo>
                <a:close/>
                <a:moveTo>
                  <a:pt x="124" y="268"/>
                </a:moveTo>
                <a:cubicBezTo>
                  <a:pt x="129" y="267"/>
                  <a:pt x="129" y="267"/>
                  <a:pt x="129" y="267"/>
                </a:cubicBezTo>
                <a:cubicBezTo>
                  <a:pt x="132" y="269"/>
                  <a:pt x="132" y="269"/>
                  <a:pt x="132" y="269"/>
                </a:cubicBezTo>
                <a:lnTo>
                  <a:pt x="124" y="268"/>
                </a:lnTo>
                <a:close/>
                <a:moveTo>
                  <a:pt x="52" y="251"/>
                </a:moveTo>
                <a:cubicBezTo>
                  <a:pt x="55" y="251"/>
                  <a:pt x="57" y="252"/>
                  <a:pt x="60" y="253"/>
                </a:cubicBezTo>
                <a:cubicBezTo>
                  <a:pt x="61" y="253"/>
                  <a:pt x="61" y="253"/>
                  <a:pt x="61" y="253"/>
                </a:cubicBezTo>
                <a:cubicBezTo>
                  <a:pt x="58" y="253"/>
                  <a:pt x="55" y="252"/>
                  <a:pt x="53" y="251"/>
                </a:cubicBezTo>
                <a:lnTo>
                  <a:pt x="52" y="251"/>
                </a:lnTo>
                <a:close/>
                <a:moveTo>
                  <a:pt x="12" y="163"/>
                </a:moveTo>
                <a:cubicBezTo>
                  <a:pt x="12" y="169"/>
                  <a:pt x="9" y="170"/>
                  <a:pt x="8" y="177"/>
                </a:cubicBezTo>
                <a:cubicBezTo>
                  <a:pt x="8" y="178"/>
                  <a:pt x="8" y="178"/>
                  <a:pt x="8" y="179"/>
                </a:cubicBezTo>
                <a:cubicBezTo>
                  <a:pt x="8" y="178"/>
                  <a:pt x="8" y="178"/>
                  <a:pt x="8" y="177"/>
                </a:cubicBezTo>
                <a:cubicBezTo>
                  <a:pt x="8" y="173"/>
                  <a:pt x="7" y="168"/>
                  <a:pt x="12" y="163"/>
                </a:cubicBezTo>
                <a:close/>
                <a:moveTo>
                  <a:pt x="117" y="278"/>
                </a:moveTo>
                <a:cubicBezTo>
                  <a:pt x="117" y="279"/>
                  <a:pt x="107" y="278"/>
                  <a:pt x="104" y="278"/>
                </a:cubicBezTo>
                <a:cubicBezTo>
                  <a:pt x="100" y="278"/>
                  <a:pt x="106" y="277"/>
                  <a:pt x="107" y="277"/>
                </a:cubicBezTo>
                <a:cubicBezTo>
                  <a:pt x="105" y="276"/>
                  <a:pt x="104" y="276"/>
                  <a:pt x="101" y="276"/>
                </a:cubicBezTo>
                <a:cubicBezTo>
                  <a:pt x="103" y="273"/>
                  <a:pt x="109" y="278"/>
                  <a:pt x="117" y="278"/>
                </a:cubicBezTo>
                <a:close/>
                <a:moveTo>
                  <a:pt x="301" y="267"/>
                </a:moveTo>
                <a:cubicBezTo>
                  <a:pt x="294" y="270"/>
                  <a:pt x="294" y="270"/>
                  <a:pt x="294" y="270"/>
                </a:cubicBezTo>
                <a:cubicBezTo>
                  <a:pt x="296" y="269"/>
                  <a:pt x="296" y="269"/>
                  <a:pt x="296" y="269"/>
                </a:cubicBezTo>
                <a:lnTo>
                  <a:pt x="301" y="267"/>
                </a:lnTo>
                <a:close/>
                <a:moveTo>
                  <a:pt x="338" y="257"/>
                </a:moveTo>
                <a:cubicBezTo>
                  <a:pt x="347" y="254"/>
                  <a:pt x="353" y="250"/>
                  <a:pt x="351" y="249"/>
                </a:cubicBezTo>
                <a:cubicBezTo>
                  <a:pt x="344" y="252"/>
                  <a:pt x="334" y="255"/>
                  <a:pt x="330" y="258"/>
                </a:cubicBezTo>
                <a:cubicBezTo>
                  <a:pt x="334" y="256"/>
                  <a:pt x="329" y="262"/>
                  <a:pt x="338" y="257"/>
                </a:cubicBezTo>
                <a:close/>
                <a:moveTo>
                  <a:pt x="36" y="250"/>
                </a:moveTo>
                <a:cubicBezTo>
                  <a:pt x="33" y="248"/>
                  <a:pt x="29" y="246"/>
                  <a:pt x="27" y="244"/>
                </a:cubicBezTo>
                <a:cubicBezTo>
                  <a:pt x="31" y="248"/>
                  <a:pt x="40" y="250"/>
                  <a:pt x="49" y="256"/>
                </a:cubicBezTo>
                <a:cubicBezTo>
                  <a:pt x="46" y="255"/>
                  <a:pt x="43" y="254"/>
                  <a:pt x="41" y="253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0" y="254"/>
                  <a:pt x="40" y="254"/>
                  <a:pt x="40" y="254"/>
                </a:cubicBezTo>
                <a:cubicBezTo>
                  <a:pt x="42" y="253"/>
                  <a:pt x="39" y="252"/>
                  <a:pt x="36" y="250"/>
                </a:cubicBezTo>
                <a:close/>
                <a:moveTo>
                  <a:pt x="405" y="226"/>
                </a:moveTo>
                <a:cubicBezTo>
                  <a:pt x="407" y="225"/>
                  <a:pt x="410" y="222"/>
                  <a:pt x="412" y="220"/>
                </a:cubicBezTo>
                <a:cubicBezTo>
                  <a:pt x="414" y="218"/>
                  <a:pt x="416" y="215"/>
                  <a:pt x="415" y="215"/>
                </a:cubicBezTo>
                <a:cubicBezTo>
                  <a:pt x="416" y="215"/>
                  <a:pt x="414" y="217"/>
                  <a:pt x="411" y="220"/>
                </a:cubicBezTo>
                <a:cubicBezTo>
                  <a:pt x="407" y="223"/>
                  <a:pt x="403" y="227"/>
                  <a:pt x="400" y="229"/>
                </a:cubicBezTo>
                <a:cubicBezTo>
                  <a:pt x="402" y="227"/>
                  <a:pt x="403" y="227"/>
                  <a:pt x="405" y="226"/>
                </a:cubicBezTo>
                <a:close/>
                <a:moveTo>
                  <a:pt x="401" y="226"/>
                </a:moveTo>
                <a:cubicBezTo>
                  <a:pt x="397" y="227"/>
                  <a:pt x="398" y="226"/>
                  <a:pt x="391" y="230"/>
                </a:cubicBezTo>
                <a:cubicBezTo>
                  <a:pt x="393" y="230"/>
                  <a:pt x="392" y="235"/>
                  <a:pt x="381" y="238"/>
                </a:cubicBezTo>
                <a:cubicBezTo>
                  <a:pt x="388" y="233"/>
                  <a:pt x="388" y="232"/>
                  <a:pt x="398" y="225"/>
                </a:cubicBezTo>
                <a:lnTo>
                  <a:pt x="401" y="226"/>
                </a:lnTo>
                <a:close/>
                <a:moveTo>
                  <a:pt x="386" y="238"/>
                </a:moveTo>
                <a:cubicBezTo>
                  <a:pt x="382" y="240"/>
                  <a:pt x="377" y="241"/>
                  <a:pt x="373" y="243"/>
                </a:cubicBezTo>
                <a:cubicBezTo>
                  <a:pt x="379" y="237"/>
                  <a:pt x="381" y="239"/>
                  <a:pt x="386" y="238"/>
                </a:cubicBezTo>
                <a:cubicBezTo>
                  <a:pt x="390" y="237"/>
                  <a:pt x="390" y="237"/>
                  <a:pt x="390" y="237"/>
                </a:cubicBezTo>
                <a:cubicBezTo>
                  <a:pt x="389" y="237"/>
                  <a:pt x="387" y="238"/>
                  <a:pt x="386" y="238"/>
                </a:cubicBezTo>
                <a:close/>
                <a:moveTo>
                  <a:pt x="453" y="169"/>
                </a:moveTo>
                <a:cubicBezTo>
                  <a:pt x="452" y="169"/>
                  <a:pt x="453" y="168"/>
                  <a:pt x="454" y="163"/>
                </a:cubicBezTo>
                <a:cubicBezTo>
                  <a:pt x="454" y="164"/>
                  <a:pt x="454" y="165"/>
                  <a:pt x="454" y="167"/>
                </a:cubicBezTo>
                <a:cubicBezTo>
                  <a:pt x="455" y="166"/>
                  <a:pt x="455" y="167"/>
                  <a:pt x="454" y="172"/>
                </a:cubicBezTo>
                <a:cubicBezTo>
                  <a:pt x="454" y="170"/>
                  <a:pt x="454" y="169"/>
                  <a:pt x="454" y="167"/>
                </a:cubicBezTo>
                <a:cubicBezTo>
                  <a:pt x="454" y="167"/>
                  <a:pt x="453" y="169"/>
                  <a:pt x="453" y="169"/>
                </a:cubicBezTo>
                <a:close/>
                <a:moveTo>
                  <a:pt x="398" y="232"/>
                </a:moveTo>
                <a:cubicBezTo>
                  <a:pt x="402" y="230"/>
                  <a:pt x="406" y="227"/>
                  <a:pt x="410" y="225"/>
                </a:cubicBezTo>
                <a:cubicBezTo>
                  <a:pt x="406" y="227"/>
                  <a:pt x="398" y="231"/>
                  <a:pt x="398" y="232"/>
                </a:cubicBezTo>
                <a:close/>
                <a:moveTo>
                  <a:pt x="448" y="179"/>
                </a:moveTo>
                <a:cubicBezTo>
                  <a:pt x="447" y="183"/>
                  <a:pt x="444" y="186"/>
                  <a:pt x="444" y="186"/>
                </a:cubicBezTo>
                <a:cubicBezTo>
                  <a:pt x="443" y="187"/>
                  <a:pt x="445" y="184"/>
                  <a:pt x="447" y="181"/>
                </a:cubicBezTo>
                <a:cubicBezTo>
                  <a:pt x="449" y="177"/>
                  <a:pt x="450" y="172"/>
                  <a:pt x="451" y="169"/>
                </a:cubicBezTo>
                <a:cubicBezTo>
                  <a:pt x="451" y="171"/>
                  <a:pt x="450" y="175"/>
                  <a:pt x="448" y="179"/>
                </a:cubicBezTo>
                <a:close/>
                <a:moveTo>
                  <a:pt x="253" y="5"/>
                </a:moveTo>
                <a:cubicBezTo>
                  <a:pt x="257" y="7"/>
                  <a:pt x="257" y="7"/>
                  <a:pt x="257" y="7"/>
                </a:cubicBezTo>
                <a:cubicBezTo>
                  <a:pt x="249" y="6"/>
                  <a:pt x="249" y="6"/>
                  <a:pt x="249" y="6"/>
                </a:cubicBezTo>
                <a:lnTo>
                  <a:pt x="253" y="5"/>
                </a:lnTo>
                <a:close/>
                <a:moveTo>
                  <a:pt x="335" y="26"/>
                </a:moveTo>
                <a:cubicBezTo>
                  <a:pt x="336" y="27"/>
                  <a:pt x="338" y="27"/>
                  <a:pt x="339" y="28"/>
                </a:cubicBezTo>
                <a:cubicBezTo>
                  <a:pt x="341" y="29"/>
                  <a:pt x="341" y="29"/>
                  <a:pt x="341" y="29"/>
                </a:cubicBezTo>
                <a:cubicBezTo>
                  <a:pt x="339" y="28"/>
                  <a:pt x="337" y="27"/>
                  <a:pt x="335" y="26"/>
                </a:cubicBezTo>
                <a:close/>
                <a:moveTo>
                  <a:pt x="415" y="80"/>
                </a:moveTo>
                <a:cubicBezTo>
                  <a:pt x="413" y="79"/>
                  <a:pt x="413" y="78"/>
                  <a:pt x="413" y="78"/>
                </a:cubicBezTo>
                <a:cubicBezTo>
                  <a:pt x="409" y="72"/>
                  <a:pt x="396" y="60"/>
                  <a:pt x="388" y="55"/>
                </a:cubicBezTo>
                <a:cubicBezTo>
                  <a:pt x="386" y="52"/>
                  <a:pt x="396" y="58"/>
                  <a:pt x="399" y="59"/>
                </a:cubicBezTo>
                <a:cubicBezTo>
                  <a:pt x="395" y="60"/>
                  <a:pt x="398" y="62"/>
                  <a:pt x="402" y="65"/>
                </a:cubicBezTo>
                <a:cubicBezTo>
                  <a:pt x="406" y="67"/>
                  <a:pt x="412" y="71"/>
                  <a:pt x="414" y="75"/>
                </a:cubicBezTo>
                <a:cubicBezTo>
                  <a:pt x="412" y="74"/>
                  <a:pt x="408" y="70"/>
                  <a:pt x="406" y="69"/>
                </a:cubicBezTo>
                <a:cubicBezTo>
                  <a:pt x="408" y="71"/>
                  <a:pt x="412" y="75"/>
                  <a:pt x="414" y="77"/>
                </a:cubicBezTo>
                <a:cubicBezTo>
                  <a:pt x="415" y="78"/>
                  <a:pt x="416" y="78"/>
                  <a:pt x="417" y="79"/>
                </a:cubicBezTo>
                <a:cubicBezTo>
                  <a:pt x="416" y="79"/>
                  <a:pt x="415" y="78"/>
                  <a:pt x="414" y="77"/>
                </a:cubicBezTo>
                <a:cubicBezTo>
                  <a:pt x="413" y="77"/>
                  <a:pt x="413" y="77"/>
                  <a:pt x="413" y="78"/>
                </a:cubicBezTo>
                <a:cubicBezTo>
                  <a:pt x="414" y="79"/>
                  <a:pt x="414" y="80"/>
                  <a:pt x="415" y="80"/>
                </a:cubicBezTo>
                <a:close/>
                <a:moveTo>
                  <a:pt x="437" y="188"/>
                </a:moveTo>
                <a:cubicBezTo>
                  <a:pt x="436" y="190"/>
                  <a:pt x="439" y="186"/>
                  <a:pt x="436" y="193"/>
                </a:cubicBezTo>
                <a:cubicBezTo>
                  <a:pt x="435" y="193"/>
                  <a:pt x="436" y="191"/>
                  <a:pt x="437" y="188"/>
                </a:cubicBezTo>
                <a:cubicBezTo>
                  <a:pt x="437" y="187"/>
                  <a:pt x="438" y="186"/>
                  <a:pt x="439" y="183"/>
                </a:cubicBezTo>
                <a:cubicBezTo>
                  <a:pt x="438" y="185"/>
                  <a:pt x="438" y="186"/>
                  <a:pt x="437" y="188"/>
                </a:cubicBezTo>
                <a:close/>
                <a:moveTo>
                  <a:pt x="437" y="181"/>
                </a:moveTo>
                <a:cubicBezTo>
                  <a:pt x="436" y="186"/>
                  <a:pt x="433" y="191"/>
                  <a:pt x="430" y="196"/>
                </a:cubicBezTo>
                <a:cubicBezTo>
                  <a:pt x="431" y="194"/>
                  <a:pt x="432" y="192"/>
                  <a:pt x="433" y="191"/>
                </a:cubicBezTo>
                <a:cubicBezTo>
                  <a:pt x="431" y="194"/>
                  <a:pt x="429" y="197"/>
                  <a:pt x="427" y="200"/>
                </a:cubicBezTo>
                <a:cubicBezTo>
                  <a:pt x="427" y="198"/>
                  <a:pt x="432" y="189"/>
                  <a:pt x="437" y="181"/>
                </a:cubicBezTo>
                <a:close/>
                <a:moveTo>
                  <a:pt x="411" y="214"/>
                </a:moveTo>
                <a:cubicBezTo>
                  <a:pt x="416" y="210"/>
                  <a:pt x="420" y="206"/>
                  <a:pt x="424" y="201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4" y="201"/>
                  <a:pt x="424" y="201"/>
                  <a:pt x="424" y="201"/>
                </a:cubicBezTo>
                <a:cubicBezTo>
                  <a:pt x="424" y="202"/>
                  <a:pt x="423" y="203"/>
                  <a:pt x="423" y="204"/>
                </a:cubicBezTo>
                <a:cubicBezTo>
                  <a:pt x="424" y="202"/>
                  <a:pt x="424" y="202"/>
                  <a:pt x="424" y="202"/>
                </a:cubicBezTo>
                <a:cubicBezTo>
                  <a:pt x="420" y="206"/>
                  <a:pt x="415" y="210"/>
                  <a:pt x="411" y="214"/>
                </a:cubicBezTo>
                <a:close/>
                <a:moveTo>
                  <a:pt x="273" y="268"/>
                </a:moveTo>
                <a:cubicBezTo>
                  <a:pt x="265" y="269"/>
                  <a:pt x="265" y="269"/>
                  <a:pt x="265" y="269"/>
                </a:cubicBezTo>
                <a:cubicBezTo>
                  <a:pt x="266" y="269"/>
                  <a:pt x="275" y="266"/>
                  <a:pt x="282" y="265"/>
                </a:cubicBezTo>
                <a:cubicBezTo>
                  <a:pt x="272" y="263"/>
                  <a:pt x="279" y="266"/>
                  <a:pt x="263" y="267"/>
                </a:cubicBezTo>
                <a:cubicBezTo>
                  <a:pt x="281" y="264"/>
                  <a:pt x="274" y="263"/>
                  <a:pt x="273" y="262"/>
                </a:cubicBezTo>
                <a:cubicBezTo>
                  <a:pt x="271" y="263"/>
                  <a:pt x="265" y="265"/>
                  <a:pt x="259" y="266"/>
                </a:cubicBezTo>
                <a:cubicBezTo>
                  <a:pt x="254" y="267"/>
                  <a:pt x="250" y="268"/>
                  <a:pt x="254" y="270"/>
                </a:cubicBezTo>
                <a:cubicBezTo>
                  <a:pt x="260" y="269"/>
                  <a:pt x="269" y="271"/>
                  <a:pt x="273" y="268"/>
                </a:cubicBezTo>
                <a:close/>
                <a:moveTo>
                  <a:pt x="160" y="273"/>
                </a:moveTo>
                <a:cubicBezTo>
                  <a:pt x="149" y="273"/>
                  <a:pt x="149" y="273"/>
                  <a:pt x="149" y="273"/>
                </a:cubicBezTo>
                <a:cubicBezTo>
                  <a:pt x="161" y="273"/>
                  <a:pt x="161" y="273"/>
                  <a:pt x="161" y="273"/>
                </a:cubicBezTo>
                <a:lnTo>
                  <a:pt x="160" y="273"/>
                </a:lnTo>
                <a:close/>
                <a:moveTo>
                  <a:pt x="71" y="103"/>
                </a:moveTo>
                <a:cubicBezTo>
                  <a:pt x="70" y="106"/>
                  <a:pt x="58" y="115"/>
                  <a:pt x="58" y="114"/>
                </a:cubicBezTo>
                <a:cubicBezTo>
                  <a:pt x="60" y="113"/>
                  <a:pt x="66" y="107"/>
                  <a:pt x="71" y="103"/>
                </a:cubicBezTo>
                <a:close/>
                <a:moveTo>
                  <a:pt x="162" y="45"/>
                </a:moveTo>
                <a:cubicBezTo>
                  <a:pt x="156" y="47"/>
                  <a:pt x="149" y="53"/>
                  <a:pt x="146" y="52"/>
                </a:cubicBezTo>
                <a:cubicBezTo>
                  <a:pt x="149" y="50"/>
                  <a:pt x="153" y="48"/>
                  <a:pt x="157" y="46"/>
                </a:cubicBezTo>
                <a:cubicBezTo>
                  <a:pt x="159" y="46"/>
                  <a:pt x="163" y="44"/>
                  <a:pt x="162" y="45"/>
                </a:cubicBezTo>
                <a:close/>
                <a:moveTo>
                  <a:pt x="237" y="24"/>
                </a:moveTo>
                <a:cubicBezTo>
                  <a:pt x="240" y="21"/>
                  <a:pt x="240" y="21"/>
                  <a:pt x="240" y="21"/>
                </a:cubicBezTo>
                <a:cubicBezTo>
                  <a:pt x="236" y="22"/>
                  <a:pt x="236" y="22"/>
                  <a:pt x="236" y="22"/>
                </a:cubicBezTo>
                <a:lnTo>
                  <a:pt x="237" y="24"/>
                </a:lnTo>
                <a:close/>
                <a:moveTo>
                  <a:pt x="224" y="29"/>
                </a:moveTo>
                <a:cubicBezTo>
                  <a:pt x="226" y="29"/>
                  <a:pt x="234" y="27"/>
                  <a:pt x="232" y="26"/>
                </a:cubicBezTo>
                <a:lnTo>
                  <a:pt x="224" y="29"/>
                </a:lnTo>
                <a:close/>
                <a:moveTo>
                  <a:pt x="305" y="15"/>
                </a:moveTo>
                <a:cubicBezTo>
                  <a:pt x="300" y="18"/>
                  <a:pt x="300" y="18"/>
                  <a:pt x="300" y="18"/>
                </a:cubicBezTo>
                <a:cubicBezTo>
                  <a:pt x="305" y="17"/>
                  <a:pt x="305" y="17"/>
                  <a:pt x="305" y="17"/>
                </a:cubicBezTo>
                <a:lnTo>
                  <a:pt x="305" y="15"/>
                </a:lnTo>
                <a:close/>
                <a:moveTo>
                  <a:pt x="299" y="14"/>
                </a:moveTo>
                <a:cubicBezTo>
                  <a:pt x="298" y="14"/>
                  <a:pt x="297" y="15"/>
                  <a:pt x="297" y="16"/>
                </a:cubicBezTo>
                <a:cubicBezTo>
                  <a:pt x="294" y="16"/>
                  <a:pt x="289" y="17"/>
                  <a:pt x="285" y="17"/>
                </a:cubicBezTo>
                <a:cubicBezTo>
                  <a:pt x="285" y="16"/>
                  <a:pt x="289" y="16"/>
                  <a:pt x="291" y="16"/>
                </a:cubicBezTo>
                <a:cubicBezTo>
                  <a:pt x="289" y="16"/>
                  <a:pt x="286" y="15"/>
                  <a:pt x="282" y="16"/>
                </a:cubicBezTo>
                <a:cubicBezTo>
                  <a:pt x="287" y="18"/>
                  <a:pt x="284" y="18"/>
                  <a:pt x="284" y="20"/>
                </a:cubicBezTo>
                <a:cubicBezTo>
                  <a:pt x="296" y="19"/>
                  <a:pt x="296" y="17"/>
                  <a:pt x="297" y="16"/>
                </a:cubicBezTo>
                <a:cubicBezTo>
                  <a:pt x="298" y="15"/>
                  <a:pt x="299" y="14"/>
                  <a:pt x="299" y="14"/>
                </a:cubicBezTo>
                <a:close/>
                <a:moveTo>
                  <a:pt x="256" y="19"/>
                </a:moveTo>
                <a:cubicBezTo>
                  <a:pt x="258" y="19"/>
                  <a:pt x="258" y="19"/>
                  <a:pt x="259" y="19"/>
                </a:cubicBezTo>
                <a:cubicBezTo>
                  <a:pt x="266" y="19"/>
                  <a:pt x="274" y="18"/>
                  <a:pt x="266" y="21"/>
                </a:cubicBezTo>
                <a:cubicBezTo>
                  <a:pt x="259" y="22"/>
                  <a:pt x="259" y="22"/>
                  <a:pt x="259" y="22"/>
                </a:cubicBezTo>
                <a:cubicBezTo>
                  <a:pt x="262" y="22"/>
                  <a:pt x="262" y="21"/>
                  <a:pt x="262" y="21"/>
                </a:cubicBezTo>
                <a:cubicBezTo>
                  <a:pt x="257" y="21"/>
                  <a:pt x="254" y="23"/>
                  <a:pt x="250" y="24"/>
                </a:cubicBezTo>
                <a:cubicBezTo>
                  <a:pt x="252" y="23"/>
                  <a:pt x="260" y="21"/>
                  <a:pt x="259" y="19"/>
                </a:cubicBezTo>
                <a:cubicBezTo>
                  <a:pt x="253" y="20"/>
                  <a:pt x="253" y="20"/>
                  <a:pt x="253" y="20"/>
                </a:cubicBezTo>
                <a:cubicBezTo>
                  <a:pt x="251" y="20"/>
                  <a:pt x="250" y="21"/>
                  <a:pt x="248" y="20"/>
                </a:cubicBezTo>
                <a:cubicBezTo>
                  <a:pt x="249" y="20"/>
                  <a:pt x="249" y="20"/>
                  <a:pt x="249" y="20"/>
                </a:cubicBezTo>
                <a:cubicBezTo>
                  <a:pt x="250" y="20"/>
                  <a:pt x="251" y="20"/>
                  <a:pt x="253" y="20"/>
                </a:cubicBezTo>
                <a:cubicBezTo>
                  <a:pt x="254" y="19"/>
                  <a:pt x="255" y="19"/>
                  <a:pt x="256" y="19"/>
                </a:cubicBezTo>
                <a:close/>
                <a:moveTo>
                  <a:pt x="305" y="12"/>
                </a:moveTo>
                <a:cubicBezTo>
                  <a:pt x="306" y="11"/>
                  <a:pt x="305" y="11"/>
                  <a:pt x="307" y="10"/>
                </a:cubicBezTo>
                <a:cubicBezTo>
                  <a:pt x="311" y="10"/>
                  <a:pt x="311" y="10"/>
                  <a:pt x="311" y="10"/>
                </a:cubicBezTo>
                <a:cubicBezTo>
                  <a:pt x="316" y="10"/>
                  <a:pt x="310" y="11"/>
                  <a:pt x="305" y="12"/>
                </a:cubicBezTo>
                <a:close/>
                <a:moveTo>
                  <a:pt x="92" y="83"/>
                </a:moveTo>
                <a:cubicBezTo>
                  <a:pt x="91" y="84"/>
                  <a:pt x="81" y="92"/>
                  <a:pt x="82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83" y="90"/>
                  <a:pt x="87" y="85"/>
                  <a:pt x="85" y="86"/>
                </a:cubicBezTo>
                <a:cubicBezTo>
                  <a:pt x="89" y="84"/>
                  <a:pt x="93" y="81"/>
                  <a:pt x="92" y="83"/>
                </a:cubicBezTo>
                <a:close/>
                <a:moveTo>
                  <a:pt x="142" y="272"/>
                </a:moveTo>
                <a:cubicBezTo>
                  <a:pt x="139" y="272"/>
                  <a:pt x="123" y="269"/>
                  <a:pt x="121" y="272"/>
                </a:cubicBezTo>
                <a:cubicBezTo>
                  <a:pt x="116" y="268"/>
                  <a:pt x="134" y="271"/>
                  <a:pt x="142" y="272"/>
                </a:cubicBezTo>
                <a:close/>
                <a:moveTo>
                  <a:pt x="144" y="275"/>
                </a:moveTo>
                <a:cubicBezTo>
                  <a:pt x="145" y="275"/>
                  <a:pt x="146" y="275"/>
                  <a:pt x="148" y="275"/>
                </a:cubicBezTo>
                <a:cubicBezTo>
                  <a:pt x="152" y="275"/>
                  <a:pt x="152" y="273"/>
                  <a:pt x="160" y="274"/>
                </a:cubicBezTo>
                <a:cubicBezTo>
                  <a:pt x="158" y="275"/>
                  <a:pt x="155" y="274"/>
                  <a:pt x="153" y="274"/>
                </a:cubicBezTo>
                <a:cubicBezTo>
                  <a:pt x="153" y="276"/>
                  <a:pt x="152" y="275"/>
                  <a:pt x="148" y="275"/>
                </a:cubicBezTo>
                <a:cubicBezTo>
                  <a:pt x="146" y="275"/>
                  <a:pt x="145" y="275"/>
                  <a:pt x="144" y="275"/>
                </a:cubicBezTo>
                <a:close/>
                <a:moveTo>
                  <a:pt x="9" y="190"/>
                </a:moveTo>
                <a:cubicBezTo>
                  <a:pt x="9" y="193"/>
                  <a:pt x="9" y="196"/>
                  <a:pt x="9" y="199"/>
                </a:cubicBezTo>
                <a:cubicBezTo>
                  <a:pt x="9" y="201"/>
                  <a:pt x="10" y="203"/>
                  <a:pt x="11" y="205"/>
                </a:cubicBezTo>
                <a:cubicBezTo>
                  <a:pt x="10" y="200"/>
                  <a:pt x="9" y="195"/>
                  <a:pt x="9" y="190"/>
                </a:cubicBezTo>
                <a:close/>
                <a:moveTo>
                  <a:pt x="48" y="114"/>
                </a:moveTo>
                <a:cubicBezTo>
                  <a:pt x="46" y="116"/>
                  <a:pt x="45" y="117"/>
                  <a:pt x="43" y="119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18"/>
                  <a:pt x="47" y="117"/>
                  <a:pt x="46" y="119"/>
                </a:cubicBezTo>
                <a:cubicBezTo>
                  <a:pt x="45" y="120"/>
                  <a:pt x="44" y="121"/>
                  <a:pt x="44" y="122"/>
                </a:cubicBezTo>
                <a:cubicBezTo>
                  <a:pt x="45" y="121"/>
                  <a:pt x="46" y="120"/>
                  <a:pt x="46" y="119"/>
                </a:cubicBezTo>
                <a:cubicBezTo>
                  <a:pt x="49" y="115"/>
                  <a:pt x="54" y="110"/>
                  <a:pt x="54" y="109"/>
                </a:cubicBezTo>
                <a:cubicBezTo>
                  <a:pt x="52" y="111"/>
                  <a:pt x="46" y="118"/>
                  <a:pt x="45" y="117"/>
                </a:cubicBezTo>
                <a:lnTo>
                  <a:pt x="48" y="114"/>
                </a:lnTo>
                <a:close/>
                <a:moveTo>
                  <a:pt x="196" y="24"/>
                </a:moveTo>
                <a:cubicBezTo>
                  <a:pt x="192" y="25"/>
                  <a:pt x="191" y="26"/>
                  <a:pt x="185" y="26"/>
                </a:cubicBezTo>
                <a:cubicBezTo>
                  <a:pt x="189" y="25"/>
                  <a:pt x="194" y="23"/>
                  <a:pt x="196" y="24"/>
                </a:cubicBezTo>
                <a:close/>
                <a:moveTo>
                  <a:pt x="20" y="148"/>
                </a:moveTo>
                <a:cubicBezTo>
                  <a:pt x="21" y="149"/>
                  <a:pt x="16" y="157"/>
                  <a:pt x="19" y="155"/>
                </a:cubicBezTo>
                <a:cubicBezTo>
                  <a:pt x="21" y="151"/>
                  <a:pt x="21" y="151"/>
                  <a:pt x="21" y="151"/>
                </a:cubicBezTo>
                <a:cubicBezTo>
                  <a:pt x="18" y="157"/>
                  <a:pt x="21" y="156"/>
                  <a:pt x="16" y="163"/>
                </a:cubicBezTo>
                <a:cubicBezTo>
                  <a:pt x="17" y="162"/>
                  <a:pt x="18" y="160"/>
                  <a:pt x="19" y="158"/>
                </a:cubicBezTo>
                <a:cubicBezTo>
                  <a:pt x="15" y="164"/>
                  <a:pt x="21" y="150"/>
                  <a:pt x="15" y="159"/>
                </a:cubicBezTo>
                <a:cubicBezTo>
                  <a:pt x="13" y="163"/>
                  <a:pt x="17" y="152"/>
                  <a:pt x="20" y="148"/>
                </a:cubicBezTo>
                <a:close/>
                <a:moveTo>
                  <a:pt x="208" y="17"/>
                </a:moveTo>
                <a:cubicBezTo>
                  <a:pt x="202" y="19"/>
                  <a:pt x="204" y="21"/>
                  <a:pt x="194" y="23"/>
                </a:cubicBezTo>
                <a:cubicBezTo>
                  <a:pt x="201" y="20"/>
                  <a:pt x="199" y="18"/>
                  <a:pt x="208" y="17"/>
                </a:cubicBezTo>
                <a:close/>
                <a:moveTo>
                  <a:pt x="57" y="96"/>
                </a:moveTo>
                <a:cubicBezTo>
                  <a:pt x="56" y="97"/>
                  <a:pt x="56" y="97"/>
                  <a:pt x="56" y="97"/>
                </a:cubicBezTo>
                <a:cubicBezTo>
                  <a:pt x="50" y="103"/>
                  <a:pt x="50" y="103"/>
                  <a:pt x="50" y="103"/>
                </a:cubicBezTo>
                <a:cubicBezTo>
                  <a:pt x="51" y="103"/>
                  <a:pt x="51" y="103"/>
                  <a:pt x="51" y="103"/>
                </a:cubicBezTo>
                <a:lnTo>
                  <a:pt x="57" y="96"/>
                </a:lnTo>
                <a:close/>
                <a:moveTo>
                  <a:pt x="210" y="33"/>
                </a:moveTo>
                <a:cubicBezTo>
                  <a:pt x="212" y="33"/>
                  <a:pt x="214" y="32"/>
                  <a:pt x="215" y="32"/>
                </a:cubicBezTo>
                <a:cubicBezTo>
                  <a:pt x="213" y="32"/>
                  <a:pt x="212" y="32"/>
                  <a:pt x="210" y="33"/>
                </a:cubicBezTo>
                <a:close/>
                <a:moveTo>
                  <a:pt x="172" y="266"/>
                </a:moveTo>
                <a:cubicBezTo>
                  <a:pt x="173" y="267"/>
                  <a:pt x="173" y="267"/>
                  <a:pt x="175" y="267"/>
                </a:cubicBezTo>
                <a:cubicBezTo>
                  <a:pt x="174" y="267"/>
                  <a:pt x="174" y="267"/>
                  <a:pt x="172" y="266"/>
                </a:cubicBezTo>
                <a:close/>
                <a:moveTo>
                  <a:pt x="192" y="266"/>
                </a:moveTo>
                <a:cubicBezTo>
                  <a:pt x="192" y="266"/>
                  <a:pt x="192" y="266"/>
                  <a:pt x="192" y="266"/>
                </a:cubicBezTo>
                <a:cubicBezTo>
                  <a:pt x="193" y="266"/>
                  <a:pt x="193" y="266"/>
                  <a:pt x="193" y="266"/>
                </a:cubicBezTo>
                <a:lnTo>
                  <a:pt x="192" y="266"/>
                </a:lnTo>
                <a:close/>
                <a:moveTo>
                  <a:pt x="142" y="15"/>
                </a:moveTo>
                <a:cubicBezTo>
                  <a:pt x="139" y="18"/>
                  <a:pt x="146" y="15"/>
                  <a:pt x="150" y="14"/>
                </a:cubicBezTo>
                <a:cubicBezTo>
                  <a:pt x="146" y="15"/>
                  <a:pt x="145" y="14"/>
                  <a:pt x="142" y="15"/>
                </a:cubicBezTo>
                <a:close/>
                <a:moveTo>
                  <a:pt x="168" y="9"/>
                </a:moveTo>
                <a:cubicBezTo>
                  <a:pt x="166" y="10"/>
                  <a:pt x="163" y="10"/>
                  <a:pt x="160" y="11"/>
                </a:cubicBezTo>
                <a:cubicBezTo>
                  <a:pt x="162" y="11"/>
                  <a:pt x="165" y="10"/>
                  <a:pt x="168" y="9"/>
                </a:cubicBezTo>
                <a:close/>
                <a:moveTo>
                  <a:pt x="147" y="12"/>
                </a:moveTo>
                <a:cubicBezTo>
                  <a:pt x="152" y="12"/>
                  <a:pt x="156" y="11"/>
                  <a:pt x="160" y="11"/>
                </a:cubicBezTo>
                <a:cubicBezTo>
                  <a:pt x="157" y="11"/>
                  <a:pt x="154" y="11"/>
                  <a:pt x="147" y="12"/>
                </a:cubicBezTo>
                <a:close/>
                <a:moveTo>
                  <a:pt x="239" y="8"/>
                </a:moveTo>
                <a:cubicBezTo>
                  <a:pt x="235" y="9"/>
                  <a:pt x="227" y="8"/>
                  <a:pt x="227" y="8"/>
                </a:cubicBezTo>
                <a:cubicBezTo>
                  <a:pt x="244" y="10"/>
                  <a:pt x="223" y="10"/>
                  <a:pt x="222" y="11"/>
                </a:cubicBezTo>
                <a:cubicBezTo>
                  <a:pt x="233" y="11"/>
                  <a:pt x="233" y="9"/>
                  <a:pt x="239" y="8"/>
                </a:cubicBezTo>
                <a:close/>
                <a:moveTo>
                  <a:pt x="262" y="10"/>
                </a:moveTo>
                <a:cubicBezTo>
                  <a:pt x="260" y="10"/>
                  <a:pt x="259" y="9"/>
                  <a:pt x="257" y="9"/>
                </a:cubicBezTo>
                <a:cubicBezTo>
                  <a:pt x="259" y="9"/>
                  <a:pt x="261" y="10"/>
                  <a:pt x="262" y="10"/>
                </a:cubicBezTo>
                <a:close/>
                <a:moveTo>
                  <a:pt x="268" y="12"/>
                </a:moveTo>
                <a:cubicBezTo>
                  <a:pt x="274" y="12"/>
                  <a:pt x="277" y="12"/>
                  <a:pt x="280" y="11"/>
                </a:cubicBezTo>
                <a:cubicBezTo>
                  <a:pt x="272" y="9"/>
                  <a:pt x="268" y="10"/>
                  <a:pt x="262" y="10"/>
                </a:cubicBezTo>
                <a:cubicBezTo>
                  <a:pt x="266" y="10"/>
                  <a:pt x="271" y="11"/>
                  <a:pt x="268" y="12"/>
                </a:cubicBezTo>
                <a:close/>
                <a:moveTo>
                  <a:pt x="422" y="101"/>
                </a:moveTo>
                <a:cubicBezTo>
                  <a:pt x="421" y="100"/>
                  <a:pt x="420" y="97"/>
                  <a:pt x="419" y="98"/>
                </a:cubicBezTo>
                <a:cubicBezTo>
                  <a:pt x="421" y="100"/>
                  <a:pt x="423" y="103"/>
                  <a:pt x="425" y="105"/>
                </a:cubicBezTo>
                <a:cubicBezTo>
                  <a:pt x="427" y="108"/>
                  <a:pt x="423" y="102"/>
                  <a:pt x="422" y="101"/>
                </a:cubicBezTo>
                <a:close/>
                <a:moveTo>
                  <a:pt x="442" y="130"/>
                </a:moveTo>
                <a:cubicBezTo>
                  <a:pt x="444" y="137"/>
                  <a:pt x="441" y="134"/>
                  <a:pt x="443" y="138"/>
                </a:cubicBezTo>
                <a:cubicBezTo>
                  <a:pt x="445" y="137"/>
                  <a:pt x="445" y="137"/>
                  <a:pt x="445" y="137"/>
                </a:cubicBezTo>
                <a:cubicBezTo>
                  <a:pt x="444" y="134"/>
                  <a:pt x="443" y="132"/>
                  <a:pt x="442" y="130"/>
                </a:cubicBezTo>
                <a:close/>
                <a:moveTo>
                  <a:pt x="452" y="122"/>
                </a:moveTo>
                <a:cubicBezTo>
                  <a:pt x="450" y="120"/>
                  <a:pt x="450" y="120"/>
                  <a:pt x="450" y="120"/>
                </a:cubicBezTo>
                <a:cubicBezTo>
                  <a:pt x="452" y="122"/>
                  <a:pt x="452" y="122"/>
                  <a:pt x="452" y="122"/>
                </a:cubicBezTo>
                <a:close/>
                <a:moveTo>
                  <a:pt x="441" y="165"/>
                </a:moveTo>
                <a:cubicBezTo>
                  <a:pt x="440" y="163"/>
                  <a:pt x="440" y="162"/>
                  <a:pt x="439" y="160"/>
                </a:cubicBezTo>
                <a:cubicBezTo>
                  <a:pt x="439" y="166"/>
                  <a:pt x="440" y="166"/>
                  <a:pt x="441" y="165"/>
                </a:cubicBezTo>
                <a:close/>
                <a:moveTo>
                  <a:pt x="426" y="189"/>
                </a:moveTo>
                <a:cubicBezTo>
                  <a:pt x="427" y="188"/>
                  <a:pt x="427" y="187"/>
                  <a:pt x="428" y="185"/>
                </a:cubicBezTo>
                <a:cubicBezTo>
                  <a:pt x="426" y="189"/>
                  <a:pt x="423" y="193"/>
                  <a:pt x="420" y="196"/>
                </a:cubicBezTo>
                <a:cubicBezTo>
                  <a:pt x="422" y="194"/>
                  <a:pt x="424" y="192"/>
                  <a:pt x="426" y="189"/>
                </a:cubicBezTo>
                <a:close/>
                <a:moveTo>
                  <a:pt x="402" y="214"/>
                </a:moveTo>
                <a:cubicBezTo>
                  <a:pt x="400" y="214"/>
                  <a:pt x="400" y="214"/>
                  <a:pt x="400" y="214"/>
                </a:cubicBezTo>
                <a:cubicBezTo>
                  <a:pt x="398" y="216"/>
                  <a:pt x="395" y="218"/>
                  <a:pt x="393" y="220"/>
                </a:cubicBezTo>
                <a:cubicBezTo>
                  <a:pt x="396" y="218"/>
                  <a:pt x="399" y="216"/>
                  <a:pt x="402" y="214"/>
                </a:cubicBezTo>
                <a:close/>
                <a:moveTo>
                  <a:pt x="26" y="228"/>
                </a:moveTo>
                <a:cubicBezTo>
                  <a:pt x="25" y="228"/>
                  <a:pt x="26" y="231"/>
                  <a:pt x="29" y="234"/>
                </a:cubicBezTo>
                <a:cubicBezTo>
                  <a:pt x="32" y="237"/>
                  <a:pt x="36" y="240"/>
                  <a:pt x="37" y="242"/>
                </a:cubicBezTo>
                <a:cubicBezTo>
                  <a:pt x="37" y="240"/>
                  <a:pt x="34" y="238"/>
                  <a:pt x="32" y="236"/>
                </a:cubicBezTo>
                <a:cubicBezTo>
                  <a:pt x="29" y="234"/>
                  <a:pt x="26" y="231"/>
                  <a:pt x="26" y="228"/>
                </a:cubicBezTo>
                <a:close/>
                <a:moveTo>
                  <a:pt x="196" y="36"/>
                </a:moveTo>
                <a:cubicBezTo>
                  <a:pt x="191" y="38"/>
                  <a:pt x="187" y="39"/>
                  <a:pt x="182" y="41"/>
                </a:cubicBezTo>
                <a:cubicBezTo>
                  <a:pt x="193" y="38"/>
                  <a:pt x="185" y="40"/>
                  <a:pt x="196" y="36"/>
                </a:cubicBezTo>
                <a:close/>
              </a:path>
            </a:pathLst>
          </a:custGeom>
          <a:solidFill>
            <a:srgbClr val="FEA30D"/>
          </a:solidFill>
          <a:ln>
            <a:solidFill>
              <a:srgbClr val="FEA30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84">
            <a:extLst>
              <a:ext uri="{FF2B5EF4-FFF2-40B4-BE49-F238E27FC236}">
                <a16:creationId xmlns:a16="http://schemas.microsoft.com/office/drawing/2014/main" id="{D1A6531F-E1AD-270C-419F-850863618174}"/>
              </a:ext>
            </a:extLst>
          </p:cNvPr>
          <p:cNvSpPr>
            <a:spLocks noChangeArrowheads="1"/>
          </p:cNvSpPr>
          <p:nvPr/>
        </p:nvSpPr>
        <p:spPr bwMode="gray">
          <a:xfrm rot="14364264">
            <a:off x="2962606" y="3985870"/>
            <a:ext cx="1365468" cy="138027"/>
          </a:xfrm>
          <a:prstGeom prst="rightArrow">
            <a:avLst>
              <a:gd name="adj1" fmla="val 35713"/>
              <a:gd name="adj2" fmla="val 6312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>
              <a:defRPr/>
            </a:pPr>
            <a:endParaRPr lang="en-US" sz="1400" dirty="0"/>
          </a:p>
        </p:txBody>
      </p:sp>
      <p:sp>
        <p:nvSpPr>
          <p:cNvPr id="11" name="AutoShape 84">
            <a:extLst>
              <a:ext uri="{FF2B5EF4-FFF2-40B4-BE49-F238E27FC236}">
                <a16:creationId xmlns:a16="http://schemas.microsoft.com/office/drawing/2014/main" id="{16B816C1-0949-CA22-1CFF-749CAF950C19}"/>
              </a:ext>
            </a:extLst>
          </p:cNvPr>
          <p:cNvSpPr>
            <a:spLocks noChangeArrowheads="1"/>
          </p:cNvSpPr>
          <p:nvPr/>
        </p:nvSpPr>
        <p:spPr bwMode="gray">
          <a:xfrm rot="12182265">
            <a:off x="6503145" y="4043641"/>
            <a:ext cx="2356514" cy="150049"/>
          </a:xfrm>
          <a:prstGeom prst="rightArrow">
            <a:avLst>
              <a:gd name="adj1" fmla="val 35713"/>
              <a:gd name="adj2" fmla="val 6312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>
              <a:defRPr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3286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F7187C2-3DA8-883E-1F69-4551B0157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spółczynniki OAE/OEE na wykresie (linia RAFF) </a:t>
            </a: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0D858E6E-14F6-F64A-903F-525C495025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56907"/>
            <a:ext cx="12192000" cy="354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935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15EEF57-E499-A0F4-E396-842F4C7F8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spółczynnik OAE na wykresie (linia K. CARDS) </a:t>
            </a: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1E5C3885-0FEE-AA6F-FF2C-A3A47653FE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80594"/>
            <a:ext cx="12192000" cy="409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464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0D9813E-7A9A-A41B-8892-97BC6532E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niki OAE i OEE 24/25 na PU1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4938FA7F-4562-605D-1A15-B65C7CB9C7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225327"/>
              </p:ext>
            </p:extLst>
          </p:nvPr>
        </p:nvGraphicFramePr>
        <p:xfrm>
          <a:off x="1736305" y="1489303"/>
          <a:ext cx="8719389" cy="387939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906463">
                  <a:extLst>
                    <a:ext uri="{9D8B030D-6E8A-4147-A177-3AD203B41FA5}">
                      <a16:colId xmlns:a16="http://schemas.microsoft.com/office/drawing/2014/main" val="1722084673"/>
                    </a:ext>
                  </a:extLst>
                </a:gridCol>
                <a:gridCol w="2906463">
                  <a:extLst>
                    <a:ext uri="{9D8B030D-6E8A-4147-A177-3AD203B41FA5}">
                      <a16:colId xmlns:a16="http://schemas.microsoft.com/office/drawing/2014/main" val="2149883423"/>
                    </a:ext>
                  </a:extLst>
                </a:gridCol>
                <a:gridCol w="2906463">
                  <a:extLst>
                    <a:ext uri="{9D8B030D-6E8A-4147-A177-3AD203B41FA5}">
                      <a16:colId xmlns:a16="http://schemas.microsoft.com/office/drawing/2014/main" val="3550414182"/>
                    </a:ext>
                  </a:extLst>
                </a:gridCol>
              </a:tblGrid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sz="2800" dirty="0"/>
                        <a:t>Lin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2800" dirty="0"/>
                        <a:t>OA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2800" dirty="0"/>
                        <a:t>OE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26911287"/>
                  </a:ext>
                </a:extLst>
              </a:tr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dirty="0" err="1"/>
                        <a:t>Raffaello</a:t>
                      </a:r>
                      <a:endParaRPr lang="pl-PL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74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83,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303248"/>
                  </a:ext>
                </a:extLst>
              </a:tr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Kinder Car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66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79,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5724540"/>
                  </a:ext>
                </a:extLst>
              </a:tr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dirty="0" err="1"/>
                        <a:t>Nutella</a:t>
                      </a:r>
                      <a:r>
                        <a:rPr lang="pl-PL" dirty="0"/>
                        <a:t> B-</a:t>
                      </a:r>
                      <a:r>
                        <a:rPr lang="pl-PL" dirty="0" err="1"/>
                        <a:t>ready</a:t>
                      </a:r>
                      <a:endParaRPr lang="pl-PL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63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78,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0547186"/>
                  </a:ext>
                </a:extLst>
              </a:tr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dirty="0" err="1"/>
                        <a:t>Tavolette</a:t>
                      </a:r>
                      <a:endParaRPr lang="pl-PL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66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91,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2371331"/>
                  </a:ext>
                </a:extLst>
              </a:tr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dirty="0" err="1"/>
                        <a:t>Rocherone</a:t>
                      </a:r>
                      <a:r>
                        <a:rPr lang="pl-PL" dirty="0"/>
                        <a:t> (</a:t>
                      </a:r>
                      <a:r>
                        <a:rPr lang="pl-PL" dirty="0" err="1"/>
                        <a:t>Buhler</a:t>
                      </a:r>
                      <a:r>
                        <a:rPr lang="pl-PL" dirty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52,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74,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386329"/>
                  </a:ext>
                </a:extLst>
              </a:tr>
              <a:tr h="554199">
                <a:tc>
                  <a:txBody>
                    <a:bodyPr/>
                    <a:lstStyle/>
                    <a:p>
                      <a:pPr algn="ctr"/>
                      <a:r>
                        <a:rPr lang="pl-PL" dirty="0" err="1"/>
                        <a:t>Rocherone</a:t>
                      </a:r>
                      <a:r>
                        <a:rPr lang="pl-PL" dirty="0"/>
                        <a:t> (</a:t>
                      </a:r>
                      <a:r>
                        <a:rPr lang="pl-PL" dirty="0" err="1"/>
                        <a:t>Ceda</a:t>
                      </a:r>
                      <a:r>
                        <a:rPr lang="pl-PL" dirty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52,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/>
                        <a:t>67,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520900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2777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5UR9mTVic2nsDrOoy8Vg"/>
</p:tagLst>
</file>

<file path=ppt/theme/theme1.xml><?xml version="1.0" encoding="utf-8"?>
<a:theme xmlns:a="http://schemas.openxmlformats.org/drawingml/2006/main" name="3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41f03ca-fe41-4c72-8542-9217c3935f0b">
      <Terms xmlns="http://schemas.microsoft.com/office/infopath/2007/PartnerControls"/>
    </lcf76f155ced4ddcb4097134ff3c332f>
    <TaxCatchAll xmlns="d8d54dee-ab89-43d8-a180-e182e1c16da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5EE7DE156FC34BBA7C788A2131893E" ma:contentTypeVersion="13" ma:contentTypeDescription="Utwórz nowy dokument." ma:contentTypeScope="" ma:versionID="ef7051d93ad0e4140ce884c11df9abab">
  <xsd:schema xmlns:xsd="http://www.w3.org/2001/XMLSchema" xmlns:xs="http://www.w3.org/2001/XMLSchema" xmlns:p="http://schemas.microsoft.com/office/2006/metadata/properties" xmlns:ns2="541f03ca-fe41-4c72-8542-9217c3935f0b" xmlns:ns3="d8d54dee-ab89-43d8-a180-e182e1c16da4" targetNamespace="http://schemas.microsoft.com/office/2006/metadata/properties" ma:root="true" ma:fieldsID="ff248a3e7c1caaea0497491652c2ca45" ns2:_="" ns3:_="">
    <xsd:import namespace="541f03ca-fe41-4c72-8542-9217c3935f0b"/>
    <xsd:import namespace="d8d54dee-ab89-43d8-a180-e182e1c16d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1f03ca-fe41-4c72-8542-9217c3935f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Tagi obrazów" ma:readOnly="false" ma:fieldId="{5cf76f15-5ced-4ddc-b409-7134ff3c332f}" ma:taxonomyMulti="true" ma:sspId="c0dc5163-3851-46c0-8925-0aff8a1619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d54dee-ab89-43d8-a180-e182e1c16da4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5bc999aa-31e2-4b08-a94d-108a4f3a3f83}" ma:internalName="TaxCatchAll" ma:showField="CatchAllData" ma:web="d8d54dee-ab89-43d8-a180-e182e1c16d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90D0D8-2B33-4AEA-B7EE-EE830562A7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D63C3A-10E6-4DFA-9736-68332A9EECE9}">
  <ds:schemaRefs>
    <ds:schemaRef ds:uri="http://schemas.microsoft.com/office/2006/metadata/properties"/>
    <ds:schemaRef ds:uri="http://schemas.microsoft.com/office/infopath/2007/PartnerControls"/>
    <ds:schemaRef ds:uri="541f03ca-fe41-4c72-8542-9217c3935f0b"/>
    <ds:schemaRef ds:uri="d8d54dee-ab89-43d8-a180-e182e1c16da4"/>
  </ds:schemaRefs>
</ds:datastoreItem>
</file>

<file path=customXml/itemProps3.xml><?xml version="1.0" encoding="utf-8"?>
<ds:datastoreItem xmlns:ds="http://schemas.openxmlformats.org/officeDocument/2006/customXml" ds:itemID="{2674C870-24A9-4352-9342-7C8E1BAA633E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0</Words>
  <Application>Microsoft Office PowerPoint</Application>
  <PresentationFormat>Panoramiczny</PresentationFormat>
  <Paragraphs>57</Paragraphs>
  <Slides>8</Slides>
  <Notes>1</Notes>
  <HiddenSlides>0</HiddenSlides>
  <MMClips>0</MMClips>
  <ScaleCrop>false</ScaleCrop>
  <HeadingPairs>
    <vt:vector size="8" baseType="variant">
      <vt:variant>
        <vt:lpstr>Używane czcionki</vt:lpstr>
      </vt:variant>
      <vt:variant>
        <vt:i4>2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12" baseType="lpstr">
      <vt:lpstr>Arial</vt:lpstr>
      <vt:lpstr>Calibri</vt:lpstr>
      <vt:lpstr>3_Tema di Office</vt:lpstr>
      <vt:lpstr>think-cell Slide</vt:lpstr>
      <vt:lpstr>Prezentacja programu PowerPoint</vt:lpstr>
      <vt:lpstr>OAE/OEE definicje</vt:lpstr>
      <vt:lpstr>OAE/OEE definicje</vt:lpstr>
      <vt:lpstr>OAE w praktyce (na przykładzie linii RAFF)</vt:lpstr>
      <vt:lpstr>OEE w praktyce (na przykładzie linii K. CARDS)</vt:lpstr>
      <vt:lpstr>Współczynniki OAE/OEE na wykresie (linia RAFF) </vt:lpstr>
      <vt:lpstr>Współczynnik OAE na wykresie (linia K. CARDS) </vt:lpstr>
      <vt:lpstr>Wyniki OAE i OEE 24/25 na PU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NAME   Status Report – DATE</dc:title>
  <dc:creator>Pawel STANISZEWSKI</dc:creator>
  <cp:lastModifiedBy>Pawel STANISZEWSKI</cp:lastModifiedBy>
  <cp:revision>241</cp:revision>
  <dcterms:created xsi:type="dcterms:W3CDTF">2025-01-23T12:51:11Z</dcterms:created>
  <dcterms:modified xsi:type="dcterms:W3CDTF">2025-07-14T07:0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15e1d80-5df9-45cf-93c6-b3dca2463c0a_Enabled">
    <vt:lpwstr>true</vt:lpwstr>
  </property>
  <property fmtid="{D5CDD505-2E9C-101B-9397-08002B2CF9AE}" pid="3" name="MSIP_Label_115e1d80-5df9-45cf-93c6-b3dca2463c0a_SetDate">
    <vt:lpwstr>2025-01-23T13:05:44Z</vt:lpwstr>
  </property>
  <property fmtid="{D5CDD505-2E9C-101B-9397-08002B2CF9AE}" pid="4" name="MSIP_Label_115e1d80-5df9-45cf-93c6-b3dca2463c0a_Method">
    <vt:lpwstr>Standard</vt:lpwstr>
  </property>
  <property fmtid="{D5CDD505-2E9C-101B-9397-08002B2CF9AE}" pid="5" name="MSIP_Label_115e1d80-5df9-45cf-93c6-b3dca2463c0a_Name">
    <vt:lpwstr>115e1d80-5df9-45cf-93c6-b3dca2463c0a</vt:lpwstr>
  </property>
  <property fmtid="{D5CDD505-2E9C-101B-9397-08002B2CF9AE}" pid="6" name="MSIP_Label_115e1d80-5df9-45cf-93c6-b3dca2463c0a_SiteId">
    <vt:lpwstr>35734bde-3e33-4eb6-8dd2-0c96b30981bf</vt:lpwstr>
  </property>
  <property fmtid="{D5CDD505-2E9C-101B-9397-08002B2CF9AE}" pid="7" name="MSIP_Label_115e1d80-5df9-45cf-93c6-b3dca2463c0a_ActionId">
    <vt:lpwstr>897a3058-326d-41e0-a846-1bdcfbd7f365</vt:lpwstr>
  </property>
  <property fmtid="{D5CDD505-2E9C-101B-9397-08002B2CF9AE}" pid="8" name="MSIP_Label_115e1d80-5df9-45cf-93c6-b3dca2463c0a_ContentBits">
    <vt:lpwstr>0</vt:lpwstr>
  </property>
  <property fmtid="{D5CDD505-2E9C-101B-9397-08002B2CF9AE}" pid="9" name="ContentTypeId">
    <vt:lpwstr>0x010100E35EE7DE156FC34BBA7C788A2131893E</vt:lpwstr>
  </property>
  <property fmtid="{D5CDD505-2E9C-101B-9397-08002B2CF9AE}" pid="10" name="MediaServiceImageTags">
    <vt:lpwstr/>
  </property>
</Properties>
</file>